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159" r:id="rId4"/>
  </p:sldMasterIdLst>
  <p:notesMasterIdLst>
    <p:notesMasterId r:id="rId15"/>
  </p:notesMasterIdLst>
  <p:handoutMasterIdLst>
    <p:handoutMasterId r:id="rId16"/>
  </p:handoutMasterIdLst>
  <p:sldIdLst>
    <p:sldId id="2147469660" r:id="rId5"/>
    <p:sldId id="2147469747" r:id="rId6"/>
    <p:sldId id="2147469354" r:id="rId7"/>
    <p:sldId id="2147469674" r:id="rId8"/>
    <p:sldId id="2147469756" r:id="rId9"/>
    <p:sldId id="2147469670" r:id="rId10"/>
    <p:sldId id="2147469759" r:id="rId11"/>
    <p:sldId id="2147469676" r:id="rId12"/>
    <p:sldId id="2147469542" r:id="rId13"/>
    <p:sldId id="2147469232" r:id="rId14"/>
  </p:sldIdLst>
  <p:sldSz cx="9144000" cy="5143500" type="screen16x9"/>
  <p:notesSz cx="7099300" cy="9385300"/>
  <p:custDataLst>
    <p:tags r:id="rId17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D84044EF-4DB7-45F4-98CB-AF77E6FDB31A}">
          <p14:sldIdLst>
            <p14:sldId id="2147469660"/>
            <p14:sldId id="2147469747"/>
            <p14:sldId id="2147469354"/>
            <p14:sldId id="2147469674"/>
            <p14:sldId id="2147469756"/>
            <p14:sldId id="2147469670"/>
            <p14:sldId id="2147469759"/>
            <p14:sldId id="2147469676"/>
            <p14:sldId id="2147469542"/>
            <p14:sldId id="2147469232"/>
          </p14:sldIdLst>
        </p14:section>
      </p14:sectionLst>
    </p:ext>
    <p:ext uri="{EFAFB233-063F-42B5-8137-9DF3F51BA10A}">
      <p15:sldGuideLst xmlns:p15="http://schemas.microsoft.com/office/powerpoint/2012/main">
        <p15:guide id="4" pos="3192" userDrawn="1">
          <p15:clr>
            <a:srgbClr val="A4A3A4"/>
          </p15:clr>
        </p15:guide>
        <p15:guide id="8" orient="horz" pos="252" userDrawn="1">
          <p15:clr>
            <a:srgbClr val="A4A3A4"/>
          </p15:clr>
        </p15:guide>
        <p15:guide id="9" orient="horz" pos="7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5AE2C45-651A-1CA8-FD5B-06777829F863}" name="Kevin Hanegan" initials="KH" userId="90187aba2f17ff4b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drey merritt" initials="am [19]" lastIdx="1" clrIdx="0"/>
  <p:cmAuthor id="2" name="Jennifer Walker" initials="JW [5]" lastIdx="1" clrIdx="1"/>
  <p:cmAuthor id="3" name="audrey merritt" initials="am [2]" lastIdx="1" clrIdx="2"/>
  <p:cmAuthor id="4" name="audrey merritt" initials="am [4]" lastIdx="1" clrIdx="3"/>
  <p:cmAuthor id="5" name="audrey merritt" initials="am [3]" lastIdx="1" clrIdx="4"/>
  <p:cmAuthor id="6" name="Microsoft Office User" initials="Office" lastIdx="1" clrIdx="5"/>
  <p:cmAuthor id="7" name="Microsoft Office User" initials="Office [2]" lastIdx="1" clrIdx="6"/>
  <p:cmAuthor id="8" name="Microsoft Office User" initials="Office [3]" lastIdx="1" clrIdx="7"/>
  <p:cmAuthor id="9" name="audrey merritt" initials="am" lastIdx="1" clrIdx="8"/>
  <p:cmAuthor id="10" name="audrey merritt" initials="am [5]" lastIdx="1" clrIdx="9"/>
  <p:cmAuthor id="11" name="audrey merritt" initials="am [6]" lastIdx="1" clrIdx="10"/>
  <p:cmAuthor id="12" name="audrey merritt" initials="am [7]" lastIdx="1" clrIdx="11"/>
  <p:cmAuthor id="13" name="audrey merritt" initials="am [8]" lastIdx="1" clrIdx="12"/>
  <p:cmAuthor id="14" name="audrey merritt" initials="am [9]" lastIdx="1" clrIdx="13"/>
  <p:cmAuthor id="15" name="audrey merritt" initials="am [10]" lastIdx="1" clrIdx="14"/>
  <p:cmAuthor id="16" name="audrey merritt" initials="am [11]" lastIdx="1" clrIdx="15"/>
  <p:cmAuthor id="17" name="audrey merritt" initials="am [12]" lastIdx="1" clrIdx="16"/>
  <p:cmAuthor id="18" name="audrey merritt" initials="am [13]" lastIdx="1" clrIdx="17"/>
  <p:cmAuthor id="19" name="audrey merritt" initials="am [14]" lastIdx="1" clrIdx="1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4B5"/>
    <a:srgbClr val="006580"/>
    <a:srgbClr val="1C345E"/>
    <a:srgbClr val="005CB9"/>
    <a:srgbClr val="4C79CA"/>
    <a:srgbClr val="244B59"/>
    <a:srgbClr val="156838"/>
    <a:srgbClr val="870064"/>
    <a:srgbClr val="E7EAED"/>
    <a:srgbClr val="CBD3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203" autoAdjust="0"/>
  </p:normalViewPr>
  <p:slideViewPr>
    <p:cSldViewPr snapToGrid="0" showGuides="1">
      <p:cViewPr varScale="1">
        <p:scale>
          <a:sx n="107" d="100"/>
          <a:sy n="107" d="100"/>
        </p:scale>
        <p:origin x="568" y="292"/>
      </p:cViewPr>
      <p:guideLst>
        <p:guide pos="3192"/>
        <p:guide orient="horz" pos="252"/>
        <p:guide orient="horz" pos="73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469265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469265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156F37A-5299-B146-820E-E905BFE8A4C7}" type="datetimeFigureOut">
              <a:rPr lang="en-US">
                <a:latin typeface="Arial" charset="0"/>
              </a:rPr>
              <a:pPr>
                <a:defRPr/>
              </a:pPr>
              <a:t>1/31/2025</a:t>
            </a:fld>
            <a:endParaRPr lang="en-US">
              <a:latin typeface="Arial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14406"/>
            <a:ext cx="3076363" cy="469265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>
              <a:latin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4" y="8914406"/>
            <a:ext cx="3076363" cy="469265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0CA24F0-D53C-F040-AF3D-D9BB0FB00B2F}" type="slidenum">
              <a:rPr lang="en-US">
                <a:latin typeface="Arial" charset="0"/>
              </a:rPr>
              <a:pPr>
                <a:defRPr/>
              </a:pPr>
              <a:t>‹#›</a:t>
            </a:fld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16616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469265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 i="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469265"/>
          </a:xfrm>
          <a:prstGeom prst="rect">
            <a:avLst/>
          </a:prstGeom>
        </p:spPr>
        <p:txBody>
          <a:bodyPr vert="horz" lIns="94192" tIns="47096" rIns="94192" bIns="4709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i="0" smtClean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A1DBAE35-58FC-F24B-846F-40C6D59E1492}" type="datetimeFigureOut">
              <a:rPr lang="en-US" smtClean="0"/>
              <a:pPr>
                <a:defRPr/>
              </a:pPr>
              <a:t>1/3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03263"/>
            <a:ext cx="6257925" cy="35194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92" tIns="47096" rIns="94192" bIns="47096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458018"/>
            <a:ext cx="5679440" cy="4223385"/>
          </a:xfrm>
          <a:prstGeom prst="rect">
            <a:avLst/>
          </a:prstGeom>
        </p:spPr>
        <p:txBody>
          <a:bodyPr vert="horz" lIns="94192" tIns="47096" rIns="94192" bIns="47096" rtlCol="0"/>
          <a:lstStyle/>
          <a:p>
            <a:pPr lvl="0"/>
            <a:r>
              <a:rPr lang="fr-FR" noProof="0"/>
              <a:t>Click to </a:t>
            </a:r>
            <a:r>
              <a:rPr lang="fr-FR" noProof="0" err="1"/>
              <a:t>edit</a:t>
            </a:r>
            <a:r>
              <a:rPr lang="fr-FR" noProof="0"/>
              <a:t> Master </a:t>
            </a:r>
            <a:r>
              <a:rPr lang="fr-FR" noProof="0" err="1"/>
              <a:t>text</a:t>
            </a:r>
            <a:r>
              <a:rPr lang="fr-FR" noProof="0"/>
              <a:t> styles</a:t>
            </a:r>
          </a:p>
          <a:p>
            <a:pPr lvl="1"/>
            <a:r>
              <a:rPr lang="fr-FR" noProof="0"/>
              <a:t>Second </a:t>
            </a:r>
            <a:r>
              <a:rPr lang="fr-FR" noProof="0" err="1"/>
              <a:t>level</a:t>
            </a:r>
            <a:endParaRPr lang="fr-FR" noProof="0"/>
          </a:p>
          <a:p>
            <a:pPr lvl="2"/>
            <a:r>
              <a:rPr lang="fr-FR" noProof="0" err="1"/>
              <a:t>Third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3"/>
            <a:r>
              <a:rPr lang="fr-FR" noProof="0" err="1"/>
              <a:t>Four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fr-FR" noProof="0"/>
          </a:p>
          <a:p>
            <a:pPr lvl="4"/>
            <a:r>
              <a:rPr lang="fr-FR" noProof="0" err="1"/>
              <a:t>Fifth</a:t>
            </a:r>
            <a:r>
              <a:rPr lang="fr-FR" noProof="0"/>
              <a:t> </a:t>
            </a:r>
            <a:r>
              <a:rPr lang="fr-FR" noProof="0" err="1"/>
              <a:t>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4406"/>
            <a:ext cx="3076363" cy="469265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 i="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8914406"/>
            <a:ext cx="3076363" cy="469265"/>
          </a:xfrm>
          <a:prstGeom prst="rect">
            <a:avLst/>
          </a:prstGeom>
        </p:spPr>
        <p:txBody>
          <a:bodyPr vert="horz" lIns="94192" tIns="47096" rIns="94192" bIns="4709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i="0" smtClean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7666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b="0" i="0" kern="1200">
        <a:solidFill>
          <a:schemeClr val="tx1"/>
        </a:solidFill>
        <a:latin typeface="Arial" charset="0"/>
        <a:ea typeface="Arial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0962">
              <a:defRPr/>
            </a:pPr>
            <a:fld id="{30376BD1-2E4C-7E4B-BB5B-B253D71D6D7F}" type="slidenum">
              <a:rPr lang="en-US">
                <a:solidFill>
                  <a:prstClr val="black"/>
                </a:solidFill>
              </a:rPr>
              <a:pPr defTabSz="470962">
                <a:defRPr/>
              </a:pPr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732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3F2189-3485-12EF-E538-54F9D99810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6F3285-4C57-9F50-4374-286BF3424A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C71709-0C7B-C5F5-DD8A-E3B73AAC15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95270-E9B8-3EF6-ACD0-B0D771ECD5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85326">
              <a:defRPr/>
            </a:pPr>
            <a:fld id="{30376BD1-2E4C-7E4B-BB5B-B253D71D6D7F}" type="slidenum">
              <a:rPr lang="en-US">
                <a:solidFill>
                  <a:prstClr val="black"/>
                </a:solidFill>
              </a:rPr>
              <a:pPr defTabSz="485326">
                <a:defRPr/>
              </a:pPr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8070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70962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916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0962">
              <a:defRPr/>
            </a:pPr>
            <a:fld id="{30376BD1-2E4C-7E4B-BB5B-B253D71D6D7F}" type="slidenum">
              <a:rPr lang="en-US">
                <a:solidFill>
                  <a:prstClr val="black"/>
                </a:solidFill>
              </a:rPr>
              <a:pPr defTabSz="470962"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556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0FA619-6639-4A39-9CA0-A4E8F9E3A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0518E7F-718C-82DE-B0BF-0A86DE2D31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988EC6-CD6F-3D02-D44B-D8A485E31D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D78EBC-E32D-39A5-2A6B-3F0536B9AC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478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0962">
              <a:defRPr/>
            </a:pPr>
            <a:fld id="{30376BD1-2E4C-7E4B-BB5B-B253D71D6D7F}" type="slidenum">
              <a:rPr lang="en-US">
                <a:solidFill>
                  <a:prstClr val="black"/>
                </a:solidFill>
              </a:rPr>
              <a:pPr defTabSz="470962"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4654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680DD-3C3A-4FB8-16E0-CF797C7471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347955E-0DE8-9E04-0A7D-E993A94927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4F1D50-3CA3-3719-3FBB-8713229959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EF833E-D295-2049-8FD6-19764CF4D9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0962">
              <a:defRPr/>
            </a:pPr>
            <a:fld id="{30376BD1-2E4C-7E4B-BB5B-B253D71D6D7F}" type="slidenum">
              <a:rPr lang="en-US">
                <a:solidFill>
                  <a:prstClr val="black"/>
                </a:solidFill>
              </a:rPr>
              <a:pPr defTabSz="470962"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7872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70962">
              <a:defRPr/>
            </a:pPr>
            <a:fld id="{30376BD1-2E4C-7E4B-BB5B-B253D71D6D7F}" type="slidenum">
              <a:rPr lang="en-US">
                <a:solidFill>
                  <a:prstClr val="black"/>
                </a:solidFill>
              </a:rPr>
              <a:pPr defTabSz="470962"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824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0376BD1-2E4C-7E4B-BB5B-B253D71D6D7F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331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(No Su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8"/>
            <a:ext cx="8106305" cy="513211"/>
          </a:xfrm>
        </p:spPr>
        <p:txBody>
          <a:bodyPr vert="horz"/>
          <a:lstStyle>
            <a:lvl1pPr rtl="0">
              <a:lnSpc>
                <a:spcPct val="90000"/>
              </a:lnSpc>
              <a:defRPr sz="28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2982BD-CE65-794E-AA5D-470908267218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70EBF32-3EE7-914A-08BE-A29D454E7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5300" y="1195252"/>
            <a:ext cx="8117072" cy="3355632"/>
          </a:xfrm>
        </p:spPr>
        <p:txBody>
          <a:bodyPr tIns="0" bIns="0">
            <a:noAutofit/>
          </a:bodyPr>
          <a:lstStyle>
            <a:lvl1pPr marL="171450" indent="-171450" rtl="0">
              <a:buClr>
                <a:schemeClr val="accent5"/>
              </a:buClr>
              <a:buFont typeface="Arial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71450" rtl="0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8975" indent="-114300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915988" indent="-112713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144588" indent="-115888" rtl="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63ECD69-E7D2-FC78-1AD8-2020AECEE3BF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88BDCA2-126C-285A-840C-610CABDBA41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DBBA0F05-0A5F-0000-BBC7-CD14B092CFFA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207DCC3-9F0A-3EB7-476C-9E135767D4C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136513F-9326-85FF-6DC6-68B65ED9F62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8095A34-F2E2-A3C2-889D-8F8E2BE4A63B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FE67A5F-3E16-0F4C-E296-05C4282E415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1167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35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51" imgH="226" progId="TCLayout.ActiveDocument.1">
                  <p:embed/>
                </p:oleObj>
              </mc:Choice>
              <mc:Fallback>
                <p:oleObj name="think-cell Slide" r:id="rId3" imgW="251" imgH="2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8"/>
            <a:ext cx="8106305" cy="513211"/>
          </a:xfrm>
        </p:spPr>
        <p:txBody>
          <a:bodyPr vert="horz"/>
          <a:lstStyle>
            <a:lvl1pPr rtl="0">
              <a:lnSpc>
                <a:spcPct val="90000"/>
              </a:lnSpc>
              <a:defRPr sz="24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56660C7-4F0B-524E-A704-AE273120CEAD}"/>
              </a:ext>
            </a:extLst>
          </p:cNvPr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B662FDE-3372-F845-930A-5A4AB8A12913}"/>
              </a:ext>
            </a:extLst>
          </p:cNvPr>
          <p:cNvGrpSpPr/>
          <p:nvPr userDrawn="1"/>
        </p:nvGrpSpPr>
        <p:grpSpPr>
          <a:xfrm>
            <a:off x="-248194" y="359229"/>
            <a:ext cx="173853" cy="1051560"/>
            <a:chOff x="-111034" y="359229"/>
            <a:chExt cx="1158022" cy="105156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8BDFB93-DAB0-7331-5B8D-C7B5FF075DA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61395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7ADF8273-2642-CB11-6922-172DAF18BF5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947057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C3AD34E-0F3F-8DEB-A432-648A86D7751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35922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9F162CD-15F4-B095-9716-F236FD847C4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7511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C414CB8-2E07-09E5-51E5-33FBE0A9C87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208314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9F48E30-7C9D-AFF2-5085-B6206F9CC116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11034" y="1410789"/>
              <a:ext cx="1158022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05726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B11B86A-3463-2F78-8EFB-7554D2E57A93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4295" y="1100376"/>
            <a:ext cx="4070304" cy="1757287"/>
          </a:xfrm>
        </p:spPr>
        <p:txBody>
          <a:bodyPr anchor="b"/>
          <a:lstStyle>
            <a:lvl1pPr>
              <a:lnSpc>
                <a:spcPct val="90000"/>
              </a:lnSpc>
              <a:defRPr sz="36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4294" y="2857663"/>
            <a:ext cx="4070303" cy="854178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666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(tanzanit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B11B86A-3463-2F78-8EFB-7554D2E57A93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9233B">
                  <a:lumMod val="89000"/>
                  <a:lumOff val="11000"/>
                </a:srgbClr>
              </a:gs>
              <a:gs pos="23000">
                <a:srgbClr val="09233B">
                  <a:lumMod val="89000"/>
                  <a:lumOff val="11000"/>
                </a:srgbClr>
              </a:gs>
              <a:gs pos="68000">
                <a:srgbClr val="09233B">
                  <a:lumMod val="75000"/>
                </a:srgbClr>
              </a:gs>
              <a:gs pos="96000">
                <a:srgbClr val="09233B">
                  <a:lumMod val="7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4295" y="1100376"/>
            <a:ext cx="4070304" cy="1757287"/>
          </a:xfrm>
        </p:spPr>
        <p:txBody>
          <a:bodyPr anchor="b"/>
          <a:lstStyle>
            <a:lvl1pPr>
              <a:lnSpc>
                <a:spcPct val="90000"/>
              </a:lnSpc>
              <a:defRPr sz="3600" b="1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This is a divider slide with 3 lines for a long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4294" y="2857663"/>
            <a:ext cx="4070303" cy="854178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rgbClr val="FFFFFF"/>
                </a:solidFill>
              </a:defRPr>
            </a:lvl1pPr>
            <a:lvl2pPr marL="3429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8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7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600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smtClean="0">
                <a:solidFill>
                  <a:srgbClr val="53565B">
                    <a:lumMod val="60000"/>
                    <a:lumOff val="40000"/>
                  </a:srgb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>
              <a:solidFill>
                <a:srgbClr val="53565B">
                  <a:lumMod val="60000"/>
                  <a:lumOff val="40000"/>
                </a:srgb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7202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lleted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282368"/>
            <a:ext cx="9144000" cy="34624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2250" b="1">
                <a:solidFill>
                  <a:srgbClr val="8E9093"/>
                </a:solidFill>
              </a:defRPr>
            </a:lvl1pPr>
          </a:lstStyle>
          <a:p>
            <a:r>
              <a:rPr lang="en-US"/>
              <a:t>Main headline he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92129" y="906069"/>
            <a:ext cx="7046363" cy="12019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43303" indent="-143303">
              <a:lnSpc>
                <a:spcPct val="120000"/>
              </a:lnSpc>
              <a:buClr>
                <a:schemeClr val="accent1"/>
              </a:buClr>
              <a:defRPr sz="1446" baseline="0">
                <a:solidFill>
                  <a:schemeClr val="bg2"/>
                </a:solidFill>
              </a:defRPr>
            </a:lvl1pPr>
            <a:lvl2pPr marL="384373" indent="-194195">
              <a:lnSpc>
                <a:spcPct val="120000"/>
              </a:lnSpc>
              <a:buClr>
                <a:schemeClr val="accent1"/>
              </a:buClr>
              <a:defRPr sz="1446" baseline="0">
                <a:solidFill>
                  <a:schemeClr val="bg2"/>
                </a:solidFill>
              </a:defRPr>
            </a:lvl2pPr>
            <a:lvl3pPr>
              <a:lnSpc>
                <a:spcPct val="120000"/>
              </a:lnSpc>
              <a:defRPr sz="1350">
                <a:solidFill>
                  <a:srgbClr val="8C8C8C"/>
                </a:solidFill>
              </a:defRPr>
            </a:lvl3pPr>
            <a:lvl4pPr>
              <a:lnSpc>
                <a:spcPct val="120000"/>
              </a:lnSpc>
              <a:defRPr sz="1350">
                <a:solidFill>
                  <a:srgbClr val="8C8C8C"/>
                </a:solidFill>
              </a:defRPr>
            </a:lvl4pPr>
            <a:lvl5pPr>
              <a:lnSpc>
                <a:spcPct val="120000"/>
              </a:lnSpc>
              <a:defRPr sz="1350">
                <a:solidFill>
                  <a:srgbClr val="8C8C8C"/>
                </a:solidFill>
              </a:defRPr>
            </a:lvl5pPr>
          </a:lstStyle>
          <a:p>
            <a:pPr lvl="0"/>
            <a:r>
              <a:rPr lang="en-US"/>
              <a:t>Bullet #1 replace text and insert your own here</a:t>
            </a:r>
          </a:p>
          <a:p>
            <a:pPr lvl="0"/>
            <a:r>
              <a:rPr lang="en-US"/>
              <a:t>Bullet #2 replace text and insert your own here </a:t>
            </a:r>
          </a:p>
          <a:p>
            <a:pPr lvl="1"/>
            <a:r>
              <a:rPr lang="en-US"/>
              <a:t>Sub bullet style insert your own text here</a:t>
            </a:r>
          </a:p>
          <a:p>
            <a:pPr lvl="1"/>
            <a:r>
              <a:rPr lang="en-US"/>
              <a:t>Sub bullet style insert your own text here</a:t>
            </a:r>
          </a:p>
        </p:txBody>
      </p:sp>
    </p:spTree>
    <p:extLst>
      <p:ext uri="{BB962C8B-B14F-4D97-AF65-F5344CB8AC3E}">
        <p14:creationId xmlns:p14="http://schemas.microsoft.com/office/powerpoint/2010/main" val="19919599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5" y="274639"/>
            <a:ext cx="8106305" cy="513211"/>
          </a:xfrm>
        </p:spPr>
        <p:txBody>
          <a:bodyPr/>
          <a:lstStyle>
            <a:lvl1pPr>
              <a:lnSpc>
                <a:spcPct val="90000"/>
              </a:lnSpc>
              <a:defRPr sz="2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95301" y="1446757"/>
            <a:ext cx="8117072" cy="3104127"/>
          </a:xfrm>
        </p:spPr>
        <p:txBody>
          <a:bodyPr tIns="0" bIns="0">
            <a:noAutofit/>
          </a:bodyPr>
          <a:lstStyle>
            <a:lvl1pPr marL="171446" indent="-171446">
              <a:buClr>
                <a:schemeClr val="accent5"/>
              </a:buClr>
              <a:buFont typeface="Arial" charset="0"/>
              <a:buChar char="•"/>
              <a:defRPr sz="2000">
                <a:solidFill>
                  <a:schemeClr val="tx1"/>
                </a:solidFill>
              </a:defRPr>
            </a:lvl1pPr>
            <a:lvl2pPr marL="514337" indent="-171446">
              <a:buClr>
                <a:schemeClr val="tx1">
                  <a:lumMod val="60000"/>
                  <a:lumOff val="40000"/>
                </a:schemeClr>
              </a:buClr>
              <a:buFont typeface="Helvetica" charset="0"/>
              <a:buChar char="-"/>
              <a:defRPr sz="1800">
                <a:solidFill>
                  <a:schemeClr val="tx1"/>
                </a:solidFill>
              </a:defRPr>
            </a:lvl2pPr>
            <a:lvl3pPr marL="688958" indent="-114297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 baseline="0">
                <a:solidFill>
                  <a:schemeClr val="tx1"/>
                </a:solidFill>
              </a:defRPr>
            </a:lvl3pPr>
            <a:lvl4pPr marL="915965" indent="-112710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4pPr>
            <a:lvl5pPr marL="1144559" indent="-115885">
              <a:buClr>
                <a:schemeClr val="tx1">
                  <a:lumMod val="60000"/>
                  <a:lumOff val="40000"/>
                </a:schemeClr>
              </a:buClr>
              <a:buSzPct val="70000"/>
              <a:buFont typeface="Arial" charset="0"/>
              <a:buChar char="•"/>
              <a:tabLst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581835" y="4754564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04295" y="787851"/>
            <a:ext cx="8106305" cy="243662"/>
          </a:xfrm>
        </p:spPr>
        <p:txBody>
          <a:bodyPr t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chemeClr val="accent5"/>
                </a:solidFill>
              </a:defRPr>
            </a:lvl1pPr>
            <a:lvl2pPr marL="342892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685783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1028675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1371566" indent="0">
              <a:buFontTx/>
              <a:buNone/>
              <a:defRPr sz="16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75201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3FD1B140-E768-9349-BB52-F77A0C5FBD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888423"/>
            <a:ext cx="9144000" cy="4255077"/>
          </a:xfrm>
          <a:solidFill>
            <a:schemeClr val="tx1">
              <a:lumMod val="50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tx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4294" y="274638"/>
            <a:ext cx="8106305" cy="513211"/>
          </a:xfrm>
        </p:spPr>
        <p:txBody>
          <a:bodyPr/>
          <a:lstStyle>
            <a:lvl1pPr>
              <a:lnSpc>
                <a:spcPct val="90000"/>
              </a:lnSpc>
              <a:defRPr sz="2800" b="1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581835" y="4754563"/>
            <a:ext cx="177990" cy="233362"/>
          </a:xfrm>
          <a:prstGeom prst="rect">
            <a:avLst/>
          </a:prstGeom>
        </p:spPr>
        <p:txBody>
          <a:bodyPr lIns="0" rIns="0"/>
          <a:lstStyle>
            <a:defPPr>
              <a:defRPr lang="en-US"/>
            </a:defPPr>
            <a:lvl1pPr marL="0" algn="r" defTabSz="457200" rtl="0" eaLnBrk="1" latinLnBrk="0" hangingPunct="1">
              <a:defRPr sz="1600" b="0" i="0" kern="1200">
                <a:solidFill>
                  <a:schemeClr val="bg1">
                    <a:lumMod val="50000"/>
                  </a:schemeClr>
                </a:solidFill>
                <a:latin typeface="Open Sans Light"/>
                <a:ea typeface="+mn-ea"/>
                <a:cs typeface="Open Sans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2477B88-DACD-ED46-BA46-8E3D3F0E8FE7}" type="slidenum">
              <a:rPr lang="en-US" sz="800" b="0" i="0" smtClean="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  <a:cs typeface="Arial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i="0">
              <a:solidFill>
                <a:schemeClr val="tx1">
                  <a:lumMod val="60000"/>
                  <a:lumOff val="40000"/>
                </a:schemeClr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16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95757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51" imgH="226" progId="TCLayout.ActiveDocument.1">
                  <p:embed/>
                </p:oleObj>
              </mc:Choice>
              <mc:Fallback>
                <p:oleObj name="think-cell Slide" r:id="rId10" imgW="251" imgH="2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504294" y="274639"/>
            <a:ext cx="8106305" cy="443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4295" y="1021556"/>
            <a:ext cx="8106304" cy="310038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GS Doctop Placeholder" hidden="1"/>
          <p:cNvSpPr txBox="1"/>
          <p:nvPr/>
        </p:nvSpPr>
        <p:spPr>
          <a:xfrm>
            <a:off x="546100" y="0"/>
            <a:ext cx="5651500" cy="21544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 rtl="0"/>
            <a:r>
              <a:rPr lang="en-US" sz="800" b="0" i="0"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Arial" panose="020B0604020202020204" pitchFamily="34" charset="0"/>
              </a:rPr>
              <a:t>ibdroot\projects\IBD-NY\quilted2021\681345_1\01. PPT\2022.01.31 TTW\Management Presentation v76.pptx</a:t>
            </a:r>
          </a:p>
        </p:txBody>
      </p:sp>
      <p:sp>
        <p:nvSpPr>
          <p:cNvPr id="6" name="GS Doctop Placeholder" hidden="1">
            <a:extLst>
              <a:ext uri="{FF2B5EF4-FFF2-40B4-BE49-F238E27FC236}">
                <a16:creationId xmlns:a16="http://schemas.microsoft.com/office/drawing/2014/main" id="{78FFD7DC-7979-1A42-8E53-C9E70A66DBE5}"/>
              </a:ext>
            </a:extLst>
          </p:cNvPr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 i="0">
                <a:latin typeface="Arial" charset="0"/>
                <a:ea typeface="Arial" charset="0"/>
                <a:cs typeface="Arial" charset="0"/>
              </a:rPr>
              <a:t>IBDROOT\PROJECTS\IBD-NY\OPERAND2015\583992_1\Presentations\2016-01-25 Analyst Day\Project Elysium - Analyst Day Presentation (Updated 20150121).</a:t>
            </a:r>
            <a:r>
              <a:rPr lang="en-US" sz="800" b="0" i="0" err="1">
                <a:latin typeface="Arial" charset="0"/>
                <a:ea typeface="Arial" charset="0"/>
                <a:cs typeface="Arial" charset="0"/>
              </a:rPr>
              <a:t>pptx</a:t>
            </a:r>
            <a:endParaRPr lang="en-US" sz="800" b="0" i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BA3420-172F-236A-D05B-B0D4F426D80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3863150" y="4927600"/>
            <a:ext cx="14462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guard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3462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0" r:id="rId1"/>
    <p:sldLayoutId id="2147484175" r:id="rId2"/>
    <p:sldLayoutId id="2147484186" r:id="rId3"/>
    <p:sldLayoutId id="2147484490" r:id="rId4"/>
    <p:sldLayoutId id="2147484197" r:id="rId5"/>
    <p:sldLayoutId id="2147484203" r:id="rId6"/>
    <p:sldLayoutId id="2147484491" r:id="rId7"/>
  </p:sldLayoutIdLst>
  <p:hf hdr="0" dt="0"/>
  <p:txStyles>
    <p:titleStyle>
      <a:lvl1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2pPr>
      <a:lvl3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3pPr>
      <a:lvl4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4pPr>
      <a:lvl5pPr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5pPr>
      <a:lvl6pPr marL="4572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6pPr>
      <a:lvl7pPr marL="9144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7pPr>
      <a:lvl8pPr marL="13716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8pPr>
      <a:lvl9pPr marL="1828800" algn="l" defTabSz="6858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Calibri" charset="0"/>
          <a:ea typeface="ＭＳ Ｐゴシック" charset="0"/>
          <a:cs typeface="Calibri" charset="0"/>
        </a:defRPr>
      </a:lvl9pPr>
    </p:titleStyle>
    <p:bodyStyle>
      <a:lvl1pPr marL="171450" indent="-171450" algn="l" defTabSz="685800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Clr>
          <a:schemeClr val="accent5"/>
        </a:buClr>
        <a:buFont typeface="Arial" charset="0"/>
        <a:buChar char="•"/>
        <a:defRPr sz="21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5143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8572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5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12001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3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1543050" indent="-171450" algn="l" defTabSz="685800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Clr>
          <a:schemeClr val="accent5"/>
        </a:buClr>
        <a:buFont typeface="Arial" charset="0"/>
        <a:buChar char="•"/>
        <a:defRPr sz="1300" b="0" i="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3084">
          <p15:clr>
            <a:srgbClr val="F26B43"/>
          </p15:clr>
        </p15:guide>
        <p15:guide id="6" pos="312">
          <p15:clr>
            <a:srgbClr val="F26B43"/>
          </p15:clr>
        </p15:guide>
        <p15:guide id="7" orient="horz" pos="3036">
          <p15:clr>
            <a:srgbClr val="F26B43"/>
          </p15:clr>
        </p15:guide>
        <p15:guide id="8" orient="horz" pos="14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9B0482F-6736-1141-A0BC-194E10BD5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294" y="1100376"/>
            <a:ext cx="5779773" cy="1757287"/>
          </a:xfrm>
        </p:spPr>
        <p:txBody>
          <a:bodyPr/>
          <a:lstStyle/>
          <a:p>
            <a:r>
              <a:rPr lang="en-US"/>
              <a:t>Advancing Data Literacy: Senior Manager Training for M4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1D473B-5FA4-414A-B446-33D171C64A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5300" y="3266225"/>
            <a:ext cx="4070303" cy="854178"/>
          </a:xfrm>
        </p:spPr>
        <p:txBody>
          <a:bodyPr/>
          <a:lstStyle/>
          <a:p>
            <a:r>
              <a:rPr lang="en-US" sz="1600"/>
              <a:t>Kevin Hanegan	</a:t>
            </a:r>
          </a:p>
        </p:txBody>
      </p:sp>
      <p:pic>
        <p:nvPicPr>
          <p:cNvPr id="5" name="Picture 4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E834049A-ADA2-9F86-83E2-8CA0DB4788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817" y="4619963"/>
            <a:ext cx="2468880" cy="3993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072429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143444"/>
            <a:ext cx="8106305" cy="513211"/>
          </a:xfrm>
        </p:spPr>
        <p:txBody>
          <a:bodyPr/>
          <a:lstStyle/>
          <a:p>
            <a:r>
              <a:rPr lang="en-US" sz="2100">
                <a:solidFill>
                  <a:srgbClr val="54565A"/>
                </a:solidFill>
              </a:rPr>
              <a:t>Data-Informed Decision-Making Process</a:t>
            </a:r>
            <a:endParaRPr lang="en-IN" sz="2100"/>
          </a:p>
        </p:txBody>
      </p:sp>
      <p:sp>
        <p:nvSpPr>
          <p:cNvPr id="66" name="Donut 24">
            <a:extLst>
              <a:ext uri="{FF2B5EF4-FFF2-40B4-BE49-F238E27FC236}">
                <a16:creationId xmlns:a16="http://schemas.microsoft.com/office/drawing/2014/main" id="{5ECF8042-07D3-601B-180B-7090DF06CFB4}"/>
              </a:ext>
            </a:extLst>
          </p:cNvPr>
          <p:cNvSpPr/>
          <p:nvPr/>
        </p:nvSpPr>
        <p:spPr>
          <a:xfrm>
            <a:off x="4594125" y="1026141"/>
            <a:ext cx="1163350" cy="1118523"/>
          </a:xfrm>
          <a:custGeom>
            <a:avLst/>
            <a:gdLst>
              <a:gd name="connsiteX0" fmla="*/ 970678 w 2130202"/>
              <a:gd name="connsiteY0" fmla="*/ 2000917 h 2043773"/>
              <a:gd name="connsiteX1" fmla="*/ 1016277 w 2130202"/>
              <a:gd name="connsiteY1" fmla="*/ 2043773 h 2043773"/>
              <a:gd name="connsiteX2" fmla="*/ 970678 w 2130202"/>
              <a:gd name="connsiteY2" fmla="*/ 2000917 h 2043773"/>
              <a:gd name="connsiteX3" fmla="*/ 2104790 w 2130202"/>
              <a:gd name="connsiteY3" fmla="*/ 886382 h 2043773"/>
              <a:gd name="connsiteX4" fmla="*/ 2130202 w 2130202"/>
              <a:gd name="connsiteY4" fmla="*/ 910265 h 2043773"/>
              <a:gd name="connsiteX5" fmla="*/ 2060315 w 2130202"/>
              <a:gd name="connsiteY5" fmla="*/ 981381 h 2043773"/>
              <a:gd name="connsiteX6" fmla="*/ 2104790 w 2130202"/>
              <a:gd name="connsiteY6" fmla="*/ 886382 h 2043773"/>
              <a:gd name="connsiteX7" fmla="*/ 0 w 2130202"/>
              <a:gd name="connsiteY7" fmla="*/ 0 h 2043773"/>
              <a:gd name="connsiteX8" fmla="*/ 1900448 w 2130202"/>
              <a:gd name="connsiteY8" fmla="*/ 697070 h 2043773"/>
              <a:gd name="connsiteX9" fmla="*/ 1591947 w 2130202"/>
              <a:gd name="connsiteY9" fmla="*/ 1417307 h 2043773"/>
              <a:gd name="connsiteX10" fmla="*/ 747346 w 2130202"/>
              <a:gd name="connsiteY10" fmla="*/ 1827219 h 2043773"/>
              <a:gd name="connsiteX11" fmla="*/ 0 w 2130202"/>
              <a:gd name="connsiteY11" fmla="*/ 1609503 h 2043773"/>
              <a:gd name="connsiteX12" fmla="*/ 264145 w 2130202"/>
              <a:gd name="connsiteY12" fmla="*/ 789774 h 2043773"/>
              <a:gd name="connsiteX13" fmla="*/ 0 w 2130202"/>
              <a:gd name="connsiteY13" fmla="*/ 0 h 2043773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060315 w 2130202"/>
              <a:gd name="connsiteY2" fmla="*/ 981381 h 1827219"/>
              <a:gd name="connsiteX3" fmla="*/ 2104790 w 2130202"/>
              <a:gd name="connsiteY3" fmla="*/ 886382 h 1827219"/>
              <a:gd name="connsiteX4" fmla="*/ 0 w 2130202"/>
              <a:gd name="connsiteY4" fmla="*/ 0 h 1827219"/>
              <a:gd name="connsiteX5" fmla="*/ 1900448 w 2130202"/>
              <a:gd name="connsiteY5" fmla="*/ 697070 h 1827219"/>
              <a:gd name="connsiteX6" fmla="*/ 1591947 w 2130202"/>
              <a:gd name="connsiteY6" fmla="*/ 1417307 h 1827219"/>
              <a:gd name="connsiteX7" fmla="*/ 747346 w 2130202"/>
              <a:gd name="connsiteY7" fmla="*/ 1827219 h 1827219"/>
              <a:gd name="connsiteX8" fmla="*/ 0 w 2130202"/>
              <a:gd name="connsiteY8" fmla="*/ 1609503 h 1827219"/>
              <a:gd name="connsiteX9" fmla="*/ 264145 w 2130202"/>
              <a:gd name="connsiteY9" fmla="*/ 789774 h 1827219"/>
              <a:gd name="connsiteX10" fmla="*/ 0 w 2130202"/>
              <a:gd name="connsiteY10" fmla="*/ 0 h 1827219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104790 w 2130202"/>
              <a:gd name="connsiteY2" fmla="*/ 886382 h 1827219"/>
              <a:gd name="connsiteX3" fmla="*/ 0 w 2130202"/>
              <a:gd name="connsiteY3" fmla="*/ 0 h 1827219"/>
              <a:gd name="connsiteX4" fmla="*/ 1900448 w 2130202"/>
              <a:gd name="connsiteY4" fmla="*/ 697070 h 1827219"/>
              <a:gd name="connsiteX5" fmla="*/ 1591947 w 2130202"/>
              <a:gd name="connsiteY5" fmla="*/ 1417307 h 1827219"/>
              <a:gd name="connsiteX6" fmla="*/ 747346 w 2130202"/>
              <a:gd name="connsiteY6" fmla="*/ 1827219 h 1827219"/>
              <a:gd name="connsiteX7" fmla="*/ 0 w 2130202"/>
              <a:gd name="connsiteY7" fmla="*/ 1609503 h 1827219"/>
              <a:gd name="connsiteX8" fmla="*/ 264145 w 2130202"/>
              <a:gd name="connsiteY8" fmla="*/ 789774 h 1827219"/>
              <a:gd name="connsiteX9" fmla="*/ 0 w 2130202"/>
              <a:gd name="connsiteY9" fmla="*/ 0 h 1827219"/>
              <a:gd name="connsiteX0" fmla="*/ 0 w 1900448"/>
              <a:gd name="connsiteY0" fmla="*/ 0 h 1827219"/>
              <a:gd name="connsiteX1" fmla="*/ 1900448 w 1900448"/>
              <a:gd name="connsiteY1" fmla="*/ 697070 h 1827219"/>
              <a:gd name="connsiteX2" fmla="*/ 1591947 w 1900448"/>
              <a:gd name="connsiteY2" fmla="*/ 1417307 h 1827219"/>
              <a:gd name="connsiteX3" fmla="*/ 747346 w 1900448"/>
              <a:gd name="connsiteY3" fmla="*/ 1827219 h 1827219"/>
              <a:gd name="connsiteX4" fmla="*/ 0 w 1900448"/>
              <a:gd name="connsiteY4" fmla="*/ 1609503 h 1827219"/>
              <a:gd name="connsiteX5" fmla="*/ 264145 w 1900448"/>
              <a:gd name="connsiteY5" fmla="*/ 789774 h 1827219"/>
              <a:gd name="connsiteX6" fmla="*/ 0 w 1900448"/>
              <a:gd name="connsiteY6" fmla="*/ 0 h 182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0448" h="1827219">
                <a:moveTo>
                  <a:pt x="0" y="0"/>
                </a:moveTo>
                <a:cubicBezTo>
                  <a:pt x="721537" y="0"/>
                  <a:pt x="1383611" y="261067"/>
                  <a:pt x="1900448" y="697070"/>
                </a:cubicBezTo>
                <a:lnTo>
                  <a:pt x="1591947" y="1417307"/>
                </a:lnTo>
                <a:lnTo>
                  <a:pt x="747346" y="1827219"/>
                </a:lnTo>
                <a:cubicBezTo>
                  <a:pt x="530554" y="1688578"/>
                  <a:pt x="274282" y="1609503"/>
                  <a:pt x="0" y="1609503"/>
                </a:cubicBezTo>
                <a:lnTo>
                  <a:pt x="264145" y="789774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Donut 24">
            <a:extLst>
              <a:ext uri="{FF2B5EF4-FFF2-40B4-BE49-F238E27FC236}">
                <a16:creationId xmlns:a16="http://schemas.microsoft.com/office/drawing/2014/main" id="{A9916B93-5077-CCAE-848F-2BBD1640EDAC}"/>
              </a:ext>
            </a:extLst>
          </p:cNvPr>
          <p:cNvSpPr/>
          <p:nvPr/>
        </p:nvSpPr>
        <p:spPr>
          <a:xfrm>
            <a:off x="4663179" y="1084132"/>
            <a:ext cx="1028442" cy="971841"/>
          </a:xfrm>
          <a:custGeom>
            <a:avLst/>
            <a:gdLst/>
            <a:ahLst/>
            <a:cxnLst/>
            <a:rect l="l" t="t" r="r" b="b"/>
            <a:pathLst>
              <a:path w="1680063" h="1587599">
                <a:moveTo>
                  <a:pt x="23469" y="0"/>
                </a:moveTo>
                <a:cubicBezTo>
                  <a:pt x="648030" y="25947"/>
                  <a:pt x="1221342" y="255814"/>
                  <a:pt x="1680063" y="628703"/>
                </a:cubicBezTo>
                <a:lnTo>
                  <a:pt x="1426718" y="1229154"/>
                </a:lnTo>
                <a:lnTo>
                  <a:pt x="662412" y="1587599"/>
                </a:lnTo>
                <a:cubicBezTo>
                  <a:pt x="463983" y="1479615"/>
                  <a:pt x="239095" y="1414515"/>
                  <a:pt x="0" y="1404060"/>
                </a:cubicBezTo>
                <a:lnTo>
                  <a:pt x="283794" y="67795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Donut 24">
            <a:extLst>
              <a:ext uri="{FF2B5EF4-FFF2-40B4-BE49-F238E27FC236}">
                <a16:creationId xmlns:a16="http://schemas.microsoft.com/office/drawing/2014/main" id="{6492FA31-2B62-A53F-C151-14725ED3934B}"/>
              </a:ext>
            </a:extLst>
          </p:cNvPr>
          <p:cNvSpPr/>
          <p:nvPr/>
        </p:nvSpPr>
        <p:spPr>
          <a:xfrm rot="2659168">
            <a:off x="5318371" y="1799106"/>
            <a:ext cx="1163350" cy="1118523"/>
          </a:xfrm>
          <a:custGeom>
            <a:avLst/>
            <a:gdLst>
              <a:gd name="connsiteX0" fmla="*/ 970678 w 2130202"/>
              <a:gd name="connsiteY0" fmla="*/ 2000917 h 2043773"/>
              <a:gd name="connsiteX1" fmla="*/ 1016277 w 2130202"/>
              <a:gd name="connsiteY1" fmla="*/ 2043773 h 2043773"/>
              <a:gd name="connsiteX2" fmla="*/ 970678 w 2130202"/>
              <a:gd name="connsiteY2" fmla="*/ 2000917 h 2043773"/>
              <a:gd name="connsiteX3" fmla="*/ 2104790 w 2130202"/>
              <a:gd name="connsiteY3" fmla="*/ 886382 h 2043773"/>
              <a:gd name="connsiteX4" fmla="*/ 2130202 w 2130202"/>
              <a:gd name="connsiteY4" fmla="*/ 910265 h 2043773"/>
              <a:gd name="connsiteX5" fmla="*/ 2060315 w 2130202"/>
              <a:gd name="connsiteY5" fmla="*/ 981381 h 2043773"/>
              <a:gd name="connsiteX6" fmla="*/ 2104790 w 2130202"/>
              <a:gd name="connsiteY6" fmla="*/ 886382 h 2043773"/>
              <a:gd name="connsiteX7" fmla="*/ 0 w 2130202"/>
              <a:gd name="connsiteY7" fmla="*/ 0 h 2043773"/>
              <a:gd name="connsiteX8" fmla="*/ 1900448 w 2130202"/>
              <a:gd name="connsiteY8" fmla="*/ 697070 h 2043773"/>
              <a:gd name="connsiteX9" fmla="*/ 1591947 w 2130202"/>
              <a:gd name="connsiteY9" fmla="*/ 1417307 h 2043773"/>
              <a:gd name="connsiteX10" fmla="*/ 747346 w 2130202"/>
              <a:gd name="connsiteY10" fmla="*/ 1827219 h 2043773"/>
              <a:gd name="connsiteX11" fmla="*/ 0 w 2130202"/>
              <a:gd name="connsiteY11" fmla="*/ 1609503 h 2043773"/>
              <a:gd name="connsiteX12" fmla="*/ 264145 w 2130202"/>
              <a:gd name="connsiteY12" fmla="*/ 789774 h 2043773"/>
              <a:gd name="connsiteX13" fmla="*/ 0 w 2130202"/>
              <a:gd name="connsiteY13" fmla="*/ 0 h 2043773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060315 w 2130202"/>
              <a:gd name="connsiteY2" fmla="*/ 981381 h 1827219"/>
              <a:gd name="connsiteX3" fmla="*/ 2104790 w 2130202"/>
              <a:gd name="connsiteY3" fmla="*/ 886382 h 1827219"/>
              <a:gd name="connsiteX4" fmla="*/ 0 w 2130202"/>
              <a:gd name="connsiteY4" fmla="*/ 0 h 1827219"/>
              <a:gd name="connsiteX5" fmla="*/ 1900448 w 2130202"/>
              <a:gd name="connsiteY5" fmla="*/ 697070 h 1827219"/>
              <a:gd name="connsiteX6" fmla="*/ 1591947 w 2130202"/>
              <a:gd name="connsiteY6" fmla="*/ 1417307 h 1827219"/>
              <a:gd name="connsiteX7" fmla="*/ 747346 w 2130202"/>
              <a:gd name="connsiteY7" fmla="*/ 1827219 h 1827219"/>
              <a:gd name="connsiteX8" fmla="*/ 0 w 2130202"/>
              <a:gd name="connsiteY8" fmla="*/ 1609503 h 1827219"/>
              <a:gd name="connsiteX9" fmla="*/ 264145 w 2130202"/>
              <a:gd name="connsiteY9" fmla="*/ 789774 h 1827219"/>
              <a:gd name="connsiteX10" fmla="*/ 0 w 2130202"/>
              <a:gd name="connsiteY10" fmla="*/ 0 h 1827219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104790 w 2130202"/>
              <a:gd name="connsiteY2" fmla="*/ 886382 h 1827219"/>
              <a:gd name="connsiteX3" fmla="*/ 0 w 2130202"/>
              <a:gd name="connsiteY3" fmla="*/ 0 h 1827219"/>
              <a:gd name="connsiteX4" fmla="*/ 1900448 w 2130202"/>
              <a:gd name="connsiteY4" fmla="*/ 697070 h 1827219"/>
              <a:gd name="connsiteX5" fmla="*/ 1591947 w 2130202"/>
              <a:gd name="connsiteY5" fmla="*/ 1417307 h 1827219"/>
              <a:gd name="connsiteX6" fmla="*/ 747346 w 2130202"/>
              <a:gd name="connsiteY6" fmla="*/ 1827219 h 1827219"/>
              <a:gd name="connsiteX7" fmla="*/ 0 w 2130202"/>
              <a:gd name="connsiteY7" fmla="*/ 1609503 h 1827219"/>
              <a:gd name="connsiteX8" fmla="*/ 264145 w 2130202"/>
              <a:gd name="connsiteY8" fmla="*/ 789774 h 1827219"/>
              <a:gd name="connsiteX9" fmla="*/ 0 w 2130202"/>
              <a:gd name="connsiteY9" fmla="*/ 0 h 1827219"/>
              <a:gd name="connsiteX0" fmla="*/ 0 w 1900448"/>
              <a:gd name="connsiteY0" fmla="*/ 0 h 1827219"/>
              <a:gd name="connsiteX1" fmla="*/ 1900448 w 1900448"/>
              <a:gd name="connsiteY1" fmla="*/ 697070 h 1827219"/>
              <a:gd name="connsiteX2" fmla="*/ 1591947 w 1900448"/>
              <a:gd name="connsiteY2" fmla="*/ 1417307 h 1827219"/>
              <a:gd name="connsiteX3" fmla="*/ 747346 w 1900448"/>
              <a:gd name="connsiteY3" fmla="*/ 1827219 h 1827219"/>
              <a:gd name="connsiteX4" fmla="*/ 0 w 1900448"/>
              <a:gd name="connsiteY4" fmla="*/ 1609503 h 1827219"/>
              <a:gd name="connsiteX5" fmla="*/ 264145 w 1900448"/>
              <a:gd name="connsiteY5" fmla="*/ 789774 h 1827219"/>
              <a:gd name="connsiteX6" fmla="*/ 0 w 1900448"/>
              <a:gd name="connsiteY6" fmla="*/ 0 h 182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0448" h="1827219">
                <a:moveTo>
                  <a:pt x="0" y="0"/>
                </a:moveTo>
                <a:cubicBezTo>
                  <a:pt x="721537" y="0"/>
                  <a:pt x="1383611" y="261067"/>
                  <a:pt x="1900448" y="697070"/>
                </a:cubicBezTo>
                <a:lnTo>
                  <a:pt x="1591947" y="1417307"/>
                </a:lnTo>
                <a:lnTo>
                  <a:pt x="747346" y="1827219"/>
                </a:lnTo>
                <a:cubicBezTo>
                  <a:pt x="530554" y="1688578"/>
                  <a:pt x="274282" y="1609503"/>
                  <a:pt x="0" y="1609503"/>
                </a:cubicBezTo>
                <a:lnTo>
                  <a:pt x="264145" y="789774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Donut 24">
            <a:extLst>
              <a:ext uri="{FF2B5EF4-FFF2-40B4-BE49-F238E27FC236}">
                <a16:creationId xmlns:a16="http://schemas.microsoft.com/office/drawing/2014/main" id="{F525A5D7-8F72-E2B1-1752-6554CC67BD21}"/>
              </a:ext>
            </a:extLst>
          </p:cNvPr>
          <p:cNvSpPr/>
          <p:nvPr/>
        </p:nvSpPr>
        <p:spPr>
          <a:xfrm rot="2659168">
            <a:off x="5396676" y="1869194"/>
            <a:ext cx="1028442" cy="971841"/>
          </a:xfrm>
          <a:custGeom>
            <a:avLst/>
            <a:gdLst/>
            <a:ahLst/>
            <a:cxnLst/>
            <a:rect l="l" t="t" r="r" b="b"/>
            <a:pathLst>
              <a:path w="1680063" h="1587599">
                <a:moveTo>
                  <a:pt x="23469" y="0"/>
                </a:moveTo>
                <a:cubicBezTo>
                  <a:pt x="648030" y="25947"/>
                  <a:pt x="1221342" y="255814"/>
                  <a:pt x="1680063" y="628703"/>
                </a:cubicBezTo>
                <a:lnTo>
                  <a:pt x="1426718" y="1229154"/>
                </a:lnTo>
                <a:lnTo>
                  <a:pt x="662412" y="1587599"/>
                </a:lnTo>
                <a:cubicBezTo>
                  <a:pt x="463983" y="1479615"/>
                  <a:pt x="239095" y="1414515"/>
                  <a:pt x="0" y="1404060"/>
                </a:cubicBezTo>
                <a:lnTo>
                  <a:pt x="283794" y="67795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Donut 24">
            <a:extLst>
              <a:ext uri="{FF2B5EF4-FFF2-40B4-BE49-F238E27FC236}">
                <a16:creationId xmlns:a16="http://schemas.microsoft.com/office/drawing/2014/main" id="{CDE97CC3-95F3-B858-D184-B8A265AE109B}"/>
              </a:ext>
            </a:extLst>
          </p:cNvPr>
          <p:cNvSpPr/>
          <p:nvPr/>
        </p:nvSpPr>
        <p:spPr>
          <a:xfrm rot="5400000">
            <a:off x="5317462" y="2905105"/>
            <a:ext cx="1163349" cy="1118523"/>
          </a:xfrm>
          <a:custGeom>
            <a:avLst/>
            <a:gdLst>
              <a:gd name="connsiteX0" fmla="*/ 970678 w 2130202"/>
              <a:gd name="connsiteY0" fmla="*/ 2000917 h 2043773"/>
              <a:gd name="connsiteX1" fmla="*/ 1016277 w 2130202"/>
              <a:gd name="connsiteY1" fmla="*/ 2043773 h 2043773"/>
              <a:gd name="connsiteX2" fmla="*/ 970678 w 2130202"/>
              <a:gd name="connsiteY2" fmla="*/ 2000917 h 2043773"/>
              <a:gd name="connsiteX3" fmla="*/ 2104790 w 2130202"/>
              <a:gd name="connsiteY3" fmla="*/ 886382 h 2043773"/>
              <a:gd name="connsiteX4" fmla="*/ 2130202 w 2130202"/>
              <a:gd name="connsiteY4" fmla="*/ 910265 h 2043773"/>
              <a:gd name="connsiteX5" fmla="*/ 2060315 w 2130202"/>
              <a:gd name="connsiteY5" fmla="*/ 981381 h 2043773"/>
              <a:gd name="connsiteX6" fmla="*/ 2104790 w 2130202"/>
              <a:gd name="connsiteY6" fmla="*/ 886382 h 2043773"/>
              <a:gd name="connsiteX7" fmla="*/ 0 w 2130202"/>
              <a:gd name="connsiteY7" fmla="*/ 0 h 2043773"/>
              <a:gd name="connsiteX8" fmla="*/ 1900448 w 2130202"/>
              <a:gd name="connsiteY8" fmla="*/ 697070 h 2043773"/>
              <a:gd name="connsiteX9" fmla="*/ 1591947 w 2130202"/>
              <a:gd name="connsiteY9" fmla="*/ 1417307 h 2043773"/>
              <a:gd name="connsiteX10" fmla="*/ 747346 w 2130202"/>
              <a:gd name="connsiteY10" fmla="*/ 1827219 h 2043773"/>
              <a:gd name="connsiteX11" fmla="*/ 0 w 2130202"/>
              <a:gd name="connsiteY11" fmla="*/ 1609503 h 2043773"/>
              <a:gd name="connsiteX12" fmla="*/ 264145 w 2130202"/>
              <a:gd name="connsiteY12" fmla="*/ 789774 h 2043773"/>
              <a:gd name="connsiteX13" fmla="*/ 0 w 2130202"/>
              <a:gd name="connsiteY13" fmla="*/ 0 h 2043773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060315 w 2130202"/>
              <a:gd name="connsiteY2" fmla="*/ 981381 h 1827219"/>
              <a:gd name="connsiteX3" fmla="*/ 2104790 w 2130202"/>
              <a:gd name="connsiteY3" fmla="*/ 886382 h 1827219"/>
              <a:gd name="connsiteX4" fmla="*/ 0 w 2130202"/>
              <a:gd name="connsiteY4" fmla="*/ 0 h 1827219"/>
              <a:gd name="connsiteX5" fmla="*/ 1900448 w 2130202"/>
              <a:gd name="connsiteY5" fmla="*/ 697070 h 1827219"/>
              <a:gd name="connsiteX6" fmla="*/ 1591947 w 2130202"/>
              <a:gd name="connsiteY6" fmla="*/ 1417307 h 1827219"/>
              <a:gd name="connsiteX7" fmla="*/ 747346 w 2130202"/>
              <a:gd name="connsiteY7" fmla="*/ 1827219 h 1827219"/>
              <a:gd name="connsiteX8" fmla="*/ 0 w 2130202"/>
              <a:gd name="connsiteY8" fmla="*/ 1609503 h 1827219"/>
              <a:gd name="connsiteX9" fmla="*/ 264145 w 2130202"/>
              <a:gd name="connsiteY9" fmla="*/ 789774 h 1827219"/>
              <a:gd name="connsiteX10" fmla="*/ 0 w 2130202"/>
              <a:gd name="connsiteY10" fmla="*/ 0 h 1827219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104790 w 2130202"/>
              <a:gd name="connsiteY2" fmla="*/ 886382 h 1827219"/>
              <a:gd name="connsiteX3" fmla="*/ 0 w 2130202"/>
              <a:gd name="connsiteY3" fmla="*/ 0 h 1827219"/>
              <a:gd name="connsiteX4" fmla="*/ 1900448 w 2130202"/>
              <a:gd name="connsiteY4" fmla="*/ 697070 h 1827219"/>
              <a:gd name="connsiteX5" fmla="*/ 1591947 w 2130202"/>
              <a:gd name="connsiteY5" fmla="*/ 1417307 h 1827219"/>
              <a:gd name="connsiteX6" fmla="*/ 747346 w 2130202"/>
              <a:gd name="connsiteY6" fmla="*/ 1827219 h 1827219"/>
              <a:gd name="connsiteX7" fmla="*/ 0 w 2130202"/>
              <a:gd name="connsiteY7" fmla="*/ 1609503 h 1827219"/>
              <a:gd name="connsiteX8" fmla="*/ 264145 w 2130202"/>
              <a:gd name="connsiteY8" fmla="*/ 789774 h 1827219"/>
              <a:gd name="connsiteX9" fmla="*/ 0 w 2130202"/>
              <a:gd name="connsiteY9" fmla="*/ 0 h 1827219"/>
              <a:gd name="connsiteX0" fmla="*/ 0 w 1900448"/>
              <a:gd name="connsiteY0" fmla="*/ 0 h 1827219"/>
              <a:gd name="connsiteX1" fmla="*/ 1900448 w 1900448"/>
              <a:gd name="connsiteY1" fmla="*/ 697070 h 1827219"/>
              <a:gd name="connsiteX2" fmla="*/ 1591947 w 1900448"/>
              <a:gd name="connsiteY2" fmla="*/ 1417307 h 1827219"/>
              <a:gd name="connsiteX3" fmla="*/ 747346 w 1900448"/>
              <a:gd name="connsiteY3" fmla="*/ 1827219 h 1827219"/>
              <a:gd name="connsiteX4" fmla="*/ 0 w 1900448"/>
              <a:gd name="connsiteY4" fmla="*/ 1609503 h 1827219"/>
              <a:gd name="connsiteX5" fmla="*/ 264145 w 1900448"/>
              <a:gd name="connsiteY5" fmla="*/ 789774 h 1827219"/>
              <a:gd name="connsiteX6" fmla="*/ 0 w 1900448"/>
              <a:gd name="connsiteY6" fmla="*/ 0 h 182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0448" h="1827219">
                <a:moveTo>
                  <a:pt x="0" y="0"/>
                </a:moveTo>
                <a:cubicBezTo>
                  <a:pt x="721537" y="0"/>
                  <a:pt x="1383611" y="261067"/>
                  <a:pt x="1900448" y="697070"/>
                </a:cubicBezTo>
                <a:lnTo>
                  <a:pt x="1591947" y="1417307"/>
                </a:lnTo>
                <a:lnTo>
                  <a:pt x="747346" y="1827219"/>
                </a:lnTo>
                <a:cubicBezTo>
                  <a:pt x="530554" y="1688578"/>
                  <a:pt x="274282" y="1609503"/>
                  <a:pt x="0" y="1609503"/>
                </a:cubicBezTo>
                <a:lnTo>
                  <a:pt x="264145" y="789774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Donut 24">
            <a:extLst>
              <a:ext uri="{FF2B5EF4-FFF2-40B4-BE49-F238E27FC236}">
                <a16:creationId xmlns:a16="http://schemas.microsoft.com/office/drawing/2014/main" id="{2E1C32AF-AAAF-91D7-5C02-FBB2236D0CFC}"/>
              </a:ext>
            </a:extLst>
          </p:cNvPr>
          <p:cNvSpPr/>
          <p:nvPr/>
        </p:nvSpPr>
        <p:spPr>
          <a:xfrm rot="5400000">
            <a:off x="5409294" y="2980048"/>
            <a:ext cx="1028442" cy="971841"/>
          </a:xfrm>
          <a:custGeom>
            <a:avLst/>
            <a:gdLst/>
            <a:ahLst/>
            <a:cxnLst/>
            <a:rect l="l" t="t" r="r" b="b"/>
            <a:pathLst>
              <a:path w="1680063" h="1587599">
                <a:moveTo>
                  <a:pt x="23469" y="0"/>
                </a:moveTo>
                <a:cubicBezTo>
                  <a:pt x="648030" y="25947"/>
                  <a:pt x="1221342" y="255814"/>
                  <a:pt x="1680063" y="628703"/>
                </a:cubicBezTo>
                <a:lnTo>
                  <a:pt x="1426718" y="1229154"/>
                </a:lnTo>
                <a:lnTo>
                  <a:pt x="662412" y="1587599"/>
                </a:lnTo>
                <a:cubicBezTo>
                  <a:pt x="463983" y="1479615"/>
                  <a:pt x="239095" y="1414515"/>
                  <a:pt x="0" y="1404060"/>
                </a:cubicBezTo>
                <a:lnTo>
                  <a:pt x="283794" y="67795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Donut 24">
            <a:extLst>
              <a:ext uri="{FF2B5EF4-FFF2-40B4-BE49-F238E27FC236}">
                <a16:creationId xmlns:a16="http://schemas.microsoft.com/office/drawing/2014/main" id="{C9F4750C-FFBE-63B2-A6E0-63A904DADAE6}"/>
              </a:ext>
            </a:extLst>
          </p:cNvPr>
          <p:cNvSpPr/>
          <p:nvPr/>
        </p:nvSpPr>
        <p:spPr>
          <a:xfrm rot="8059168">
            <a:off x="4544496" y="3629351"/>
            <a:ext cx="1163349" cy="1118523"/>
          </a:xfrm>
          <a:custGeom>
            <a:avLst/>
            <a:gdLst>
              <a:gd name="connsiteX0" fmla="*/ 970678 w 2130202"/>
              <a:gd name="connsiteY0" fmla="*/ 2000917 h 2043773"/>
              <a:gd name="connsiteX1" fmla="*/ 1016277 w 2130202"/>
              <a:gd name="connsiteY1" fmla="*/ 2043773 h 2043773"/>
              <a:gd name="connsiteX2" fmla="*/ 970678 w 2130202"/>
              <a:gd name="connsiteY2" fmla="*/ 2000917 h 2043773"/>
              <a:gd name="connsiteX3" fmla="*/ 2104790 w 2130202"/>
              <a:gd name="connsiteY3" fmla="*/ 886382 h 2043773"/>
              <a:gd name="connsiteX4" fmla="*/ 2130202 w 2130202"/>
              <a:gd name="connsiteY4" fmla="*/ 910265 h 2043773"/>
              <a:gd name="connsiteX5" fmla="*/ 2060315 w 2130202"/>
              <a:gd name="connsiteY5" fmla="*/ 981381 h 2043773"/>
              <a:gd name="connsiteX6" fmla="*/ 2104790 w 2130202"/>
              <a:gd name="connsiteY6" fmla="*/ 886382 h 2043773"/>
              <a:gd name="connsiteX7" fmla="*/ 0 w 2130202"/>
              <a:gd name="connsiteY7" fmla="*/ 0 h 2043773"/>
              <a:gd name="connsiteX8" fmla="*/ 1900448 w 2130202"/>
              <a:gd name="connsiteY8" fmla="*/ 697070 h 2043773"/>
              <a:gd name="connsiteX9" fmla="*/ 1591947 w 2130202"/>
              <a:gd name="connsiteY9" fmla="*/ 1417307 h 2043773"/>
              <a:gd name="connsiteX10" fmla="*/ 747346 w 2130202"/>
              <a:gd name="connsiteY10" fmla="*/ 1827219 h 2043773"/>
              <a:gd name="connsiteX11" fmla="*/ 0 w 2130202"/>
              <a:gd name="connsiteY11" fmla="*/ 1609503 h 2043773"/>
              <a:gd name="connsiteX12" fmla="*/ 264145 w 2130202"/>
              <a:gd name="connsiteY12" fmla="*/ 789774 h 2043773"/>
              <a:gd name="connsiteX13" fmla="*/ 0 w 2130202"/>
              <a:gd name="connsiteY13" fmla="*/ 0 h 2043773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060315 w 2130202"/>
              <a:gd name="connsiteY2" fmla="*/ 981381 h 1827219"/>
              <a:gd name="connsiteX3" fmla="*/ 2104790 w 2130202"/>
              <a:gd name="connsiteY3" fmla="*/ 886382 h 1827219"/>
              <a:gd name="connsiteX4" fmla="*/ 0 w 2130202"/>
              <a:gd name="connsiteY4" fmla="*/ 0 h 1827219"/>
              <a:gd name="connsiteX5" fmla="*/ 1900448 w 2130202"/>
              <a:gd name="connsiteY5" fmla="*/ 697070 h 1827219"/>
              <a:gd name="connsiteX6" fmla="*/ 1591947 w 2130202"/>
              <a:gd name="connsiteY6" fmla="*/ 1417307 h 1827219"/>
              <a:gd name="connsiteX7" fmla="*/ 747346 w 2130202"/>
              <a:gd name="connsiteY7" fmla="*/ 1827219 h 1827219"/>
              <a:gd name="connsiteX8" fmla="*/ 0 w 2130202"/>
              <a:gd name="connsiteY8" fmla="*/ 1609503 h 1827219"/>
              <a:gd name="connsiteX9" fmla="*/ 264145 w 2130202"/>
              <a:gd name="connsiteY9" fmla="*/ 789774 h 1827219"/>
              <a:gd name="connsiteX10" fmla="*/ 0 w 2130202"/>
              <a:gd name="connsiteY10" fmla="*/ 0 h 1827219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104790 w 2130202"/>
              <a:gd name="connsiteY2" fmla="*/ 886382 h 1827219"/>
              <a:gd name="connsiteX3" fmla="*/ 0 w 2130202"/>
              <a:gd name="connsiteY3" fmla="*/ 0 h 1827219"/>
              <a:gd name="connsiteX4" fmla="*/ 1900448 w 2130202"/>
              <a:gd name="connsiteY4" fmla="*/ 697070 h 1827219"/>
              <a:gd name="connsiteX5" fmla="*/ 1591947 w 2130202"/>
              <a:gd name="connsiteY5" fmla="*/ 1417307 h 1827219"/>
              <a:gd name="connsiteX6" fmla="*/ 747346 w 2130202"/>
              <a:gd name="connsiteY6" fmla="*/ 1827219 h 1827219"/>
              <a:gd name="connsiteX7" fmla="*/ 0 w 2130202"/>
              <a:gd name="connsiteY7" fmla="*/ 1609503 h 1827219"/>
              <a:gd name="connsiteX8" fmla="*/ 264145 w 2130202"/>
              <a:gd name="connsiteY8" fmla="*/ 789774 h 1827219"/>
              <a:gd name="connsiteX9" fmla="*/ 0 w 2130202"/>
              <a:gd name="connsiteY9" fmla="*/ 0 h 1827219"/>
              <a:gd name="connsiteX0" fmla="*/ 0 w 1900448"/>
              <a:gd name="connsiteY0" fmla="*/ 0 h 1827219"/>
              <a:gd name="connsiteX1" fmla="*/ 1900448 w 1900448"/>
              <a:gd name="connsiteY1" fmla="*/ 697070 h 1827219"/>
              <a:gd name="connsiteX2" fmla="*/ 1591947 w 1900448"/>
              <a:gd name="connsiteY2" fmla="*/ 1417307 h 1827219"/>
              <a:gd name="connsiteX3" fmla="*/ 747346 w 1900448"/>
              <a:gd name="connsiteY3" fmla="*/ 1827219 h 1827219"/>
              <a:gd name="connsiteX4" fmla="*/ 0 w 1900448"/>
              <a:gd name="connsiteY4" fmla="*/ 1609503 h 1827219"/>
              <a:gd name="connsiteX5" fmla="*/ 264145 w 1900448"/>
              <a:gd name="connsiteY5" fmla="*/ 789774 h 1827219"/>
              <a:gd name="connsiteX6" fmla="*/ 0 w 1900448"/>
              <a:gd name="connsiteY6" fmla="*/ 0 h 182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0448" h="1827219">
                <a:moveTo>
                  <a:pt x="0" y="0"/>
                </a:moveTo>
                <a:cubicBezTo>
                  <a:pt x="721537" y="0"/>
                  <a:pt x="1383611" y="261067"/>
                  <a:pt x="1900448" y="697070"/>
                </a:cubicBezTo>
                <a:lnTo>
                  <a:pt x="1591947" y="1417307"/>
                </a:lnTo>
                <a:lnTo>
                  <a:pt x="747346" y="1827219"/>
                </a:lnTo>
                <a:cubicBezTo>
                  <a:pt x="530554" y="1688578"/>
                  <a:pt x="274282" y="1609503"/>
                  <a:pt x="0" y="1609503"/>
                </a:cubicBezTo>
                <a:lnTo>
                  <a:pt x="264145" y="789774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Donut 24">
            <a:extLst>
              <a:ext uri="{FF2B5EF4-FFF2-40B4-BE49-F238E27FC236}">
                <a16:creationId xmlns:a16="http://schemas.microsoft.com/office/drawing/2014/main" id="{AECDF980-167E-B63E-F23D-457C08FC3EAD}"/>
              </a:ext>
            </a:extLst>
          </p:cNvPr>
          <p:cNvSpPr/>
          <p:nvPr/>
        </p:nvSpPr>
        <p:spPr>
          <a:xfrm rot="8059168">
            <a:off x="4624232" y="3713543"/>
            <a:ext cx="1028442" cy="971841"/>
          </a:xfrm>
          <a:custGeom>
            <a:avLst/>
            <a:gdLst/>
            <a:ahLst/>
            <a:cxnLst/>
            <a:rect l="l" t="t" r="r" b="b"/>
            <a:pathLst>
              <a:path w="1680063" h="1587599">
                <a:moveTo>
                  <a:pt x="23469" y="0"/>
                </a:moveTo>
                <a:cubicBezTo>
                  <a:pt x="648030" y="25947"/>
                  <a:pt x="1221342" y="255814"/>
                  <a:pt x="1680063" y="628703"/>
                </a:cubicBezTo>
                <a:lnTo>
                  <a:pt x="1426718" y="1229154"/>
                </a:lnTo>
                <a:lnTo>
                  <a:pt x="662412" y="1587599"/>
                </a:lnTo>
                <a:cubicBezTo>
                  <a:pt x="463983" y="1479615"/>
                  <a:pt x="239095" y="1414515"/>
                  <a:pt x="0" y="1404060"/>
                </a:cubicBezTo>
                <a:lnTo>
                  <a:pt x="283794" y="67795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Donut 24">
            <a:extLst>
              <a:ext uri="{FF2B5EF4-FFF2-40B4-BE49-F238E27FC236}">
                <a16:creationId xmlns:a16="http://schemas.microsoft.com/office/drawing/2014/main" id="{0A3A8A97-AE19-7050-49BD-21C793DA39C1}"/>
              </a:ext>
            </a:extLst>
          </p:cNvPr>
          <p:cNvSpPr/>
          <p:nvPr/>
        </p:nvSpPr>
        <p:spPr>
          <a:xfrm rot="10800000">
            <a:off x="3448659" y="3605119"/>
            <a:ext cx="1163350" cy="1118523"/>
          </a:xfrm>
          <a:custGeom>
            <a:avLst/>
            <a:gdLst>
              <a:gd name="connsiteX0" fmla="*/ 970678 w 2130202"/>
              <a:gd name="connsiteY0" fmla="*/ 2000917 h 2043773"/>
              <a:gd name="connsiteX1" fmla="*/ 1016277 w 2130202"/>
              <a:gd name="connsiteY1" fmla="*/ 2043773 h 2043773"/>
              <a:gd name="connsiteX2" fmla="*/ 970678 w 2130202"/>
              <a:gd name="connsiteY2" fmla="*/ 2000917 h 2043773"/>
              <a:gd name="connsiteX3" fmla="*/ 2104790 w 2130202"/>
              <a:gd name="connsiteY3" fmla="*/ 886382 h 2043773"/>
              <a:gd name="connsiteX4" fmla="*/ 2130202 w 2130202"/>
              <a:gd name="connsiteY4" fmla="*/ 910265 h 2043773"/>
              <a:gd name="connsiteX5" fmla="*/ 2060315 w 2130202"/>
              <a:gd name="connsiteY5" fmla="*/ 981381 h 2043773"/>
              <a:gd name="connsiteX6" fmla="*/ 2104790 w 2130202"/>
              <a:gd name="connsiteY6" fmla="*/ 886382 h 2043773"/>
              <a:gd name="connsiteX7" fmla="*/ 0 w 2130202"/>
              <a:gd name="connsiteY7" fmla="*/ 0 h 2043773"/>
              <a:gd name="connsiteX8" fmla="*/ 1900448 w 2130202"/>
              <a:gd name="connsiteY8" fmla="*/ 697070 h 2043773"/>
              <a:gd name="connsiteX9" fmla="*/ 1591947 w 2130202"/>
              <a:gd name="connsiteY9" fmla="*/ 1417307 h 2043773"/>
              <a:gd name="connsiteX10" fmla="*/ 747346 w 2130202"/>
              <a:gd name="connsiteY10" fmla="*/ 1827219 h 2043773"/>
              <a:gd name="connsiteX11" fmla="*/ 0 w 2130202"/>
              <a:gd name="connsiteY11" fmla="*/ 1609503 h 2043773"/>
              <a:gd name="connsiteX12" fmla="*/ 264145 w 2130202"/>
              <a:gd name="connsiteY12" fmla="*/ 789774 h 2043773"/>
              <a:gd name="connsiteX13" fmla="*/ 0 w 2130202"/>
              <a:gd name="connsiteY13" fmla="*/ 0 h 2043773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060315 w 2130202"/>
              <a:gd name="connsiteY2" fmla="*/ 981381 h 1827219"/>
              <a:gd name="connsiteX3" fmla="*/ 2104790 w 2130202"/>
              <a:gd name="connsiteY3" fmla="*/ 886382 h 1827219"/>
              <a:gd name="connsiteX4" fmla="*/ 0 w 2130202"/>
              <a:gd name="connsiteY4" fmla="*/ 0 h 1827219"/>
              <a:gd name="connsiteX5" fmla="*/ 1900448 w 2130202"/>
              <a:gd name="connsiteY5" fmla="*/ 697070 h 1827219"/>
              <a:gd name="connsiteX6" fmla="*/ 1591947 w 2130202"/>
              <a:gd name="connsiteY6" fmla="*/ 1417307 h 1827219"/>
              <a:gd name="connsiteX7" fmla="*/ 747346 w 2130202"/>
              <a:gd name="connsiteY7" fmla="*/ 1827219 h 1827219"/>
              <a:gd name="connsiteX8" fmla="*/ 0 w 2130202"/>
              <a:gd name="connsiteY8" fmla="*/ 1609503 h 1827219"/>
              <a:gd name="connsiteX9" fmla="*/ 264145 w 2130202"/>
              <a:gd name="connsiteY9" fmla="*/ 789774 h 1827219"/>
              <a:gd name="connsiteX10" fmla="*/ 0 w 2130202"/>
              <a:gd name="connsiteY10" fmla="*/ 0 h 1827219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104790 w 2130202"/>
              <a:gd name="connsiteY2" fmla="*/ 886382 h 1827219"/>
              <a:gd name="connsiteX3" fmla="*/ 0 w 2130202"/>
              <a:gd name="connsiteY3" fmla="*/ 0 h 1827219"/>
              <a:gd name="connsiteX4" fmla="*/ 1900448 w 2130202"/>
              <a:gd name="connsiteY4" fmla="*/ 697070 h 1827219"/>
              <a:gd name="connsiteX5" fmla="*/ 1591947 w 2130202"/>
              <a:gd name="connsiteY5" fmla="*/ 1417307 h 1827219"/>
              <a:gd name="connsiteX6" fmla="*/ 747346 w 2130202"/>
              <a:gd name="connsiteY6" fmla="*/ 1827219 h 1827219"/>
              <a:gd name="connsiteX7" fmla="*/ 0 w 2130202"/>
              <a:gd name="connsiteY7" fmla="*/ 1609503 h 1827219"/>
              <a:gd name="connsiteX8" fmla="*/ 264145 w 2130202"/>
              <a:gd name="connsiteY8" fmla="*/ 789774 h 1827219"/>
              <a:gd name="connsiteX9" fmla="*/ 0 w 2130202"/>
              <a:gd name="connsiteY9" fmla="*/ 0 h 1827219"/>
              <a:gd name="connsiteX0" fmla="*/ 0 w 1900448"/>
              <a:gd name="connsiteY0" fmla="*/ 0 h 1827219"/>
              <a:gd name="connsiteX1" fmla="*/ 1900448 w 1900448"/>
              <a:gd name="connsiteY1" fmla="*/ 697070 h 1827219"/>
              <a:gd name="connsiteX2" fmla="*/ 1591947 w 1900448"/>
              <a:gd name="connsiteY2" fmla="*/ 1417307 h 1827219"/>
              <a:gd name="connsiteX3" fmla="*/ 747346 w 1900448"/>
              <a:gd name="connsiteY3" fmla="*/ 1827219 h 1827219"/>
              <a:gd name="connsiteX4" fmla="*/ 0 w 1900448"/>
              <a:gd name="connsiteY4" fmla="*/ 1609503 h 1827219"/>
              <a:gd name="connsiteX5" fmla="*/ 264145 w 1900448"/>
              <a:gd name="connsiteY5" fmla="*/ 789774 h 1827219"/>
              <a:gd name="connsiteX6" fmla="*/ 0 w 1900448"/>
              <a:gd name="connsiteY6" fmla="*/ 0 h 182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0448" h="1827219">
                <a:moveTo>
                  <a:pt x="0" y="0"/>
                </a:moveTo>
                <a:cubicBezTo>
                  <a:pt x="721537" y="0"/>
                  <a:pt x="1383611" y="261067"/>
                  <a:pt x="1900448" y="697070"/>
                </a:cubicBezTo>
                <a:lnTo>
                  <a:pt x="1591947" y="1417307"/>
                </a:lnTo>
                <a:lnTo>
                  <a:pt x="747346" y="1827219"/>
                </a:lnTo>
                <a:cubicBezTo>
                  <a:pt x="530554" y="1688578"/>
                  <a:pt x="274282" y="1609503"/>
                  <a:pt x="0" y="1609503"/>
                </a:cubicBezTo>
                <a:lnTo>
                  <a:pt x="264145" y="789774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Donut 24">
            <a:extLst>
              <a:ext uri="{FF2B5EF4-FFF2-40B4-BE49-F238E27FC236}">
                <a16:creationId xmlns:a16="http://schemas.microsoft.com/office/drawing/2014/main" id="{E788BEBE-69E2-D756-C62A-03DFEF8EB32E}"/>
              </a:ext>
            </a:extLst>
          </p:cNvPr>
          <p:cNvSpPr/>
          <p:nvPr/>
        </p:nvSpPr>
        <p:spPr>
          <a:xfrm rot="10800000">
            <a:off x="3514513" y="3693810"/>
            <a:ext cx="1028442" cy="971841"/>
          </a:xfrm>
          <a:custGeom>
            <a:avLst/>
            <a:gdLst/>
            <a:ahLst/>
            <a:cxnLst/>
            <a:rect l="l" t="t" r="r" b="b"/>
            <a:pathLst>
              <a:path w="1680063" h="1587599">
                <a:moveTo>
                  <a:pt x="23469" y="0"/>
                </a:moveTo>
                <a:cubicBezTo>
                  <a:pt x="648030" y="25947"/>
                  <a:pt x="1221342" y="255814"/>
                  <a:pt x="1680063" y="628703"/>
                </a:cubicBezTo>
                <a:lnTo>
                  <a:pt x="1426718" y="1229154"/>
                </a:lnTo>
                <a:lnTo>
                  <a:pt x="662412" y="1587599"/>
                </a:lnTo>
                <a:cubicBezTo>
                  <a:pt x="463983" y="1479615"/>
                  <a:pt x="239095" y="1414515"/>
                  <a:pt x="0" y="1404060"/>
                </a:cubicBezTo>
                <a:lnTo>
                  <a:pt x="283794" y="67795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Donut 24">
            <a:extLst>
              <a:ext uri="{FF2B5EF4-FFF2-40B4-BE49-F238E27FC236}">
                <a16:creationId xmlns:a16="http://schemas.microsoft.com/office/drawing/2014/main" id="{861F4427-B485-DFB9-FCF1-5F63AC0D89D0}"/>
              </a:ext>
            </a:extLst>
          </p:cNvPr>
          <p:cNvSpPr/>
          <p:nvPr/>
        </p:nvSpPr>
        <p:spPr>
          <a:xfrm rot="13459168">
            <a:off x="2724413" y="2832154"/>
            <a:ext cx="1163350" cy="1118523"/>
          </a:xfrm>
          <a:custGeom>
            <a:avLst/>
            <a:gdLst>
              <a:gd name="connsiteX0" fmla="*/ 970678 w 2130202"/>
              <a:gd name="connsiteY0" fmla="*/ 2000917 h 2043773"/>
              <a:gd name="connsiteX1" fmla="*/ 1016277 w 2130202"/>
              <a:gd name="connsiteY1" fmla="*/ 2043773 h 2043773"/>
              <a:gd name="connsiteX2" fmla="*/ 970678 w 2130202"/>
              <a:gd name="connsiteY2" fmla="*/ 2000917 h 2043773"/>
              <a:gd name="connsiteX3" fmla="*/ 2104790 w 2130202"/>
              <a:gd name="connsiteY3" fmla="*/ 886382 h 2043773"/>
              <a:gd name="connsiteX4" fmla="*/ 2130202 w 2130202"/>
              <a:gd name="connsiteY4" fmla="*/ 910265 h 2043773"/>
              <a:gd name="connsiteX5" fmla="*/ 2060315 w 2130202"/>
              <a:gd name="connsiteY5" fmla="*/ 981381 h 2043773"/>
              <a:gd name="connsiteX6" fmla="*/ 2104790 w 2130202"/>
              <a:gd name="connsiteY6" fmla="*/ 886382 h 2043773"/>
              <a:gd name="connsiteX7" fmla="*/ 0 w 2130202"/>
              <a:gd name="connsiteY7" fmla="*/ 0 h 2043773"/>
              <a:gd name="connsiteX8" fmla="*/ 1900448 w 2130202"/>
              <a:gd name="connsiteY8" fmla="*/ 697070 h 2043773"/>
              <a:gd name="connsiteX9" fmla="*/ 1591947 w 2130202"/>
              <a:gd name="connsiteY9" fmla="*/ 1417307 h 2043773"/>
              <a:gd name="connsiteX10" fmla="*/ 747346 w 2130202"/>
              <a:gd name="connsiteY10" fmla="*/ 1827219 h 2043773"/>
              <a:gd name="connsiteX11" fmla="*/ 0 w 2130202"/>
              <a:gd name="connsiteY11" fmla="*/ 1609503 h 2043773"/>
              <a:gd name="connsiteX12" fmla="*/ 264145 w 2130202"/>
              <a:gd name="connsiteY12" fmla="*/ 789774 h 2043773"/>
              <a:gd name="connsiteX13" fmla="*/ 0 w 2130202"/>
              <a:gd name="connsiteY13" fmla="*/ 0 h 2043773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060315 w 2130202"/>
              <a:gd name="connsiteY2" fmla="*/ 981381 h 1827219"/>
              <a:gd name="connsiteX3" fmla="*/ 2104790 w 2130202"/>
              <a:gd name="connsiteY3" fmla="*/ 886382 h 1827219"/>
              <a:gd name="connsiteX4" fmla="*/ 0 w 2130202"/>
              <a:gd name="connsiteY4" fmla="*/ 0 h 1827219"/>
              <a:gd name="connsiteX5" fmla="*/ 1900448 w 2130202"/>
              <a:gd name="connsiteY5" fmla="*/ 697070 h 1827219"/>
              <a:gd name="connsiteX6" fmla="*/ 1591947 w 2130202"/>
              <a:gd name="connsiteY6" fmla="*/ 1417307 h 1827219"/>
              <a:gd name="connsiteX7" fmla="*/ 747346 w 2130202"/>
              <a:gd name="connsiteY7" fmla="*/ 1827219 h 1827219"/>
              <a:gd name="connsiteX8" fmla="*/ 0 w 2130202"/>
              <a:gd name="connsiteY8" fmla="*/ 1609503 h 1827219"/>
              <a:gd name="connsiteX9" fmla="*/ 264145 w 2130202"/>
              <a:gd name="connsiteY9" fmla="*/ 789774 h 1827219"/>
              <a:gd name="connsiteX10" fmla="*/ 0 w 2130202"/>
              <a:gd name="connsiteY10" fmla="*/ 0 h 1827219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104790 w 2130202"/>
              <a:gd name="connsiteY2" fmla="*/ 886382 h 1827219"/>
              <a:gd name="connsiteX3" fmla="*/ 0 w 2130202"/>
              <a:gd name="connsiteY3" fmla="*/ 0 h 1827219"/>
              <a:gd name="connsiteX4" fmla="*/ 1900448 w 2130202"/>
              <a:gd name="connsiteY4" fmla="*/ 697070 h 1827219"/>
              <a:gd name="connsiteX5" fmla="*/ 1591947 w 2130202"/>
              <a:gd name="connsiteY5" fmla="*/ 1417307 h 1827219"/>
              <a:gd name="connsiteX6" fmla="*/ 747346 w 2130202"/>
              <a:gd name="connsiteY6" fmla="*/ 1827219 h 1827219"/>
              <a:gd name="connsiteX7" fmla="*/ 0 w 2130202"/>
              <a:gd name="connsiteY7" fmla="*/ 1609503 h 1827219"/>
              <a:gd name="connsiteX8" fmla="*/ 264145 w 2130202"/>
              <a:gd name="connsiteY8" fmla="*/ 789774 h 1827219"/>
              <a:gd name="connsiteX9" fmla="*/ 0 w 2130202"/>
              <a:gd name="connsiteY9" fmla="*/ 0 h 1827219"/>
              <a:gd name="connsiteX0" fmla="*/ 0 w 1900448"/>
              <a:gd name="connsiteY0" fmla="*/ 0 h 1827219"/>
              <a:gd name="connsiteX1" fmla="*/ 1900448 w 1900448"/>
              <a:gd name="connsiteY1" fmla="*/ 697070 h 1827219"/>
              <a:gd name="connsiteX2" fmla="*/ 1591947 w 1900448"/>
              <a:gd name="connsiteY2" fmla="*/ 1417307 h 1827219"/>
              <a:gd name="connsiteX3" fmla="*/ 747346 w 1900448"/>
              <a:gd name="connsiteY3" fmla="*/ 1827219 h 1827219"/>
              <a:gd name="connsiteX4" fmla="*/ 0 w 1900448"/>
              <a:gd name="connsiteY4" fmla="*/ 1609503 h 1827219"/>
              <a:gd name="connsiteX5" fmla="*/ 264145 w 1900448"/>
              <a:gd name="connsiteY5" fmla="*/ 789774 h 1827219"/>
              <a:gd name="connsiteX6" fmla="*/ 0 w 1900448"/>
              <a:gd name="connsiteY6" fmla="*/ 0 h 182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0448" h="1827219">
                <a:moveTo>
                  <a:pt x="0" y="0"/>
                </a:moveTo>
                <a:cubicBezTo>
                  <a:pt x="721537" y="0"/>
                  <a:pt x="1383611" y="261067"/>
                  <a:pt x="1900448" y="697070"/>
                </a:cubicBezTo>
                <a:lnTo>
                  <a:pt x="1591947" y="1417307"/>
                </a:lnTo>
                <a:lnTo>
                  <a:pt x="747346" y="1827219"/>
                </a:lnTo>
                <a:cubicBezTo>
                  <a:pt x="530554" y="1688578"/>
                  <a:pt x="274282" y="1609503"/>
                  <a:pt x="0" y="1609503"/>
                </a:cubicBezTo>
                <a:lnTo>
                  <a:pt x="264145" y="789774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Donut 24">
            <a:extLst>
              <a:ext uri="{FF2B5EF4-FFF2-40B4-BE49-F238E27FC236}">
                <a16:creationId xmlns:a16="http://schemas.microsoft.com/office/drawing/2014/main" id="{A01F9885-B639-130D-7CF0-93AC85172E6C}"/>
              </a:ext>
            </a:extLst>
          </p:cNvPr>
          <p:cNvSpPr/>
          <p:nvPr/>
        </p:nvSpPr>
        <p:spPr>
          <a:xfrm rot="13459168">
            <a:off x="2781017" y="2908749"/>
            <a:ext cx="1028442" cy="971841"/>
          </a:xfrm>
          <a:custGeom>
            <a:avLst/>
            <a:gdLst/>
            <a:ahLst/>
            <a:cxnLst/>
            <a:rect l="l" t="t" r="r" b="b"/>
            <a:pathLst>
              <a:path w="1680063" h="1587599">
                <a:moveTo>
                  <a:pt x="23469" y="0"/>
                </a:moveTo>
                <a:cubicBezTo>
                  <a:pt x="648030" y="25947"/>
                  <a:pt x="1221342" y="255814"/>
                  <a:pt x="1680063" y="628703"/>
                </a:cubicBezTo>
                <a:lnTo>
                  <a:pt x="1426718" y="1229154"/>
                </a:lnTo>
                <a:lnTo>
                  <a:pt x="662412" y="1587599"/>
                </a:lnTo>
                <a:cubicBezTo>
                  <a:pt x="463983" y="1479615"/>
                  <a:pt x="239095" y="1414515"/>
                  <a:pt x="0" y="1404060"/>
                </a:cubicBezTo>
                <a:lnTo>
                  <a:pt x="283794" y="67795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Donut 24">
            <a:extLst>
              <a:ext uri="{FF2B5EF4-FFF2-40B4-BE49-F238E27FC236}">
                <a16:creationId xmlns:a16="http://schemas.microsoft.com/office/drawing/2014/main" id="{B0B3667E-8414-ADCB-61D4-0DD2959E21A5}"/>
              </a:ext>
            </a:extLst>
          </p:cNvPr>
          <p:cNvSpPr/>
          <p:nvPr/>
        </p:nvSpPr>
        <p:spPr>
          <a:xfrm rot="16200000">
            <a:off x="2725323" y="1726156"/>
            <a:ext cx="1163349" cy="1118523"/>
          </a:xfrm>
          <a:custGeom>
            <a:avLst/>
            <a:gdLst>
              <a:gd name="connsiteX0" fmla="*/ 970678 w 2130202"/>
              <a:gd name="connsiteY0" fmla="*/ 2000917 h 2043773"/>
              <a:gd name="connsiteX1" fmla="*/ 1016277 w 2130202"/>
              <a:gd name="connsiteY1" fmla="*/ 2043773 h 2043773"/>
              <a:gd name="connsiteX2" fmla="*/ 970678 w 2130202"/>
              <a:gd name="connsiteY2" fmla="*/ 2000917 h 2043773"/>
              <a:gd name="connsiteX3" fmla="*/ 2104790 w 2130202"/>
              <a:gd name="connsiteY3" fmla="*/ 886382 h 2043773"/>
              <a:gd name="connsiteX4" fmla="*/ 2130202 w 2130202"/>
              <a:gd name="connsiteY4" fmla="*/ 910265 h 2043773"/>
              <a:gd name="connsiteX5" fmla="*/ 2060315 w 2130202"/>
              <a:gd name="connsiteY5" fmla="*/ 981381 h 2043773"/>
              <a:gd name="connsiteX6" fmla="*/ 2104790 w 2130202"/>
              <a:gd name="connsiteY6" fmla="*/ 886382 h 2043773"/>
              <a:gd name="connsiteX7" fmla="*/ 0 w 2130202"/>
              <a:gd name="connsiteY7" fmla="*/ 0 h 2043773"/>
              <a:gd name="connsiteX8" fmla="*/ 1900448 w 2130202"/>
              <a:gd name="connsiteY8" fmla="*/ 697070 h 2043773"/>
              <a:gd name="connsiteX9" fmla="*/ 1591947 w 2130202"/>
              <a:gd name="connsiteY9" fmla="*/ 1417307 h 2043773"/>
              <a:gd name="connsiteX10" fmla="*/ 747346 w 2130202"/>
              <a:gd name="connsiteY10" fmla="*/ 1827219 h 2043773"/>
              <a:gd name="connsiteX11" fmla="*/ 0 w 2130202"/>
              <a:gd name="connsiteY11" fmla="*/ 1609503 h 2043773"/>
              <a:gd name="connsiteX12" fmla="*/ 264145 w 2130202"/>
              <a:gd name="connsiteY12" fmla="*/ 789774 h 2043773"/>
              <a:gd name="connsiteX13" fmla="*/ 0 w 2130202"/>
              <a:gd name="connsiteY13" fmla="*/ 0 h 2043773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060315 w 2130202"/>
              <a:gd name="connsiteY2" fmla="*/ 981381 h 1827219"/>
              <a:gd name="connsiteX3" fmla="*/ 2104790 w 2130202"/>
              <a:gd name="connsiteY3" fmla="*/ 886382 h 1827219"/>
              <a:gd name="connsiteX4" fmla="*/ 0 w 2130202"/>
              <a:gd name="connsiteY4" fmla="*/ 0 h 1827219"/>
              <a:gd name="connsiteX5" fmla="*/ 1900448 w 2130202"/>
              <a:gd name="connsiteY5" fmla="*/ 697070 h 1827219"/>
              <a:gd name="connsiteX6" fmla="*/ 1591947 w 2130202"/>
              <a:gd name="connsiteY6" fmla="*/ 1417307 h 1827219"/>
              <a:gd name="connsiteX7" fmla="*/ 747346 w 2130202"/>
              <a:gd name="connsiteY7" fmla="*/ 1827219 h 1827219"/>
              <a:gd name="connsiteX8" fmla="*/ 0 w 2130202"/>
              <a:gd name="connsiteY8" fmla="*/ 1609503 h 1827219"/>
              <a:gd name="connsiteX9" fmla="*/ 264145 w 2130202"/>
              <a:gd name="connsiteY9" fmla="*/ 789774 h 1827219"/>
              <a:gd name="connsiteX10" fmla="*/ 0 w 2130202"/>
              <a:gd name="connsiteY10" fmla="*/ 0 h 1827219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104790 w 2130202"/>
              <a:gd name="connsiteY2" fmla="*/ 886382 h 1827219"/>
              <a:gd name="connsiteX3" fmla="*/ 0 w 2130202"/>
              <a:gd name="connsiteY3" fmla="*/ 0 h 1827219"/>
              <a:gd name="connsiteX4" fmla="*/ 1900448 w 2130202"/>
              <a:gd name="connsiteY4" fmla="*/ 697070 h 1827219"/>
              <a:gd name="connsiteX5" fmla="*/ 1591947 w 2130202"/>
              <a:gd name="connsiteY5" fmla="*/ 1417307 h 1827219"/>
              <a:gd name="connsiteX6" fmla="*/ 747346 w 2130202"/>
              <a:gd name="connsiteY6" fmla="*/ 1827219 h 1827219"/>
              <a:gd name="connsiteX7" fmla="*/ 0 w 2130202"/>
              <a:gd name="connsiteY7" fmla="*/ 1609503 h 1827219"/>
              <a:gd name="connsiteX8" fmla="*/ 264145 w 2130202"/>
              <a:gd name="connsiteY8" fmla="*/ 789774 h 1827219"/>
              <a:gd name="connsiteX9" fmla="*/ 0 w 2130202"/>
              <a:gd name="connsiteY9" fmla="*/ 0 h 1827219"/>
              <a:gd name="connsiteX0" fmla="*/ 0 w 1900448"/>
              <a:gd name="connsiteY0" fmla="*/ 0 h 1827219"/>
              <a:gd name="connsiteX1" fmla="*/ 1900448 w 1900448"/>
              <a:gd name="connsiteY1" fmla="*/ 697070 h 1827219"/>
              <a:gd name="connsiteX2" fmla="*/ 1591947 w 1900448"/>
              <a:gd name="connsiteY2" fmla="*/ 1417307 h 1827219"/>
              <a:gd name="connsiteX3" fmla="*/ 747346 w 1900448"/>
              <a:gd name="connsiteY3" fmla="*/ 1827219 h 1827219"/>
              <a:gd name="connsiteX4" fmla="*/ 0 w 1900448"/>
              <a:gd name="connsiteY4" fmla="*/ 1609503 h 1827219"/>
              <a:gd name="connsiteX5" fmla="*/ 264145 w 1900448"/>
              <a:gd name="connsiteY5" fmla="*/ 789774 h 1827219"/>
              <a:gd name="connsiteX6" fmla="*/ 0 w 1900448"/>
              <a:gd name="connsiteY6" fmla="*/ 0 h 182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0448" h="1827219">
                <a:moveTo>
                  <a:pt x="0" y="0"/>
                </a:moveTo>
                <a:cubicBezTo>
                  <a:pt x="721537" y="0"/>
                  <a:pt x="1383611" y="261067"/>
                  <a:pt x="1900448" y="697070"/>
                </a:cubicBezTo>
                <a:lnTo>
                  <a:pt x="1591947" y="1417307"/>
                </a:lnTo>
                <a:lnTo>
                  <a:pt x="747346" y="1827219"/>
                </a:lnTo>
                <a:cubicBezTo>
                  <a:pt x="530554" y="1688578"/>
                  <a:pt x="274282" y="1609503"/>
                  <a:pt x="0" y="1609503"/>
                </a:cubicBezTo>
                <a:lnTo>
                  <a:pt x="264145" y="789774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Donut 24">
            <a:extLst>
              <a:ext uri="{FF2B5EF4-FFF2-40B4-BE49-F238E27FC236}">
                <a16:creationId xmlns:a16="http://schemas.microsoft.com/office/drawing/2014/main" id="{7ECF0D62-653D-DD84-50B5-4ACD4A257C71}"/>
              </a:ext>
            </a:extLst>
          </p:cNvPr>
          <p:cNvSpPr/>
          <p:nvPr/>
        </p:nvSpPr>
        <p:spPr>
          <a:xfrm rot="16200000">
            <a:off x="2777428" y="1806925"/>
            <a:ext cx="1028442" cy="971841"/>
          </a:xfrm>
          <a:custGeom>
            <a:avLst/>
            <a:gdLst/>
            <a:ahLst/>
            <a:cxnLst/>
            <a:rect l="l" t="t" r="r" b="b"/>
            <a:pathLst>
              <a:path w="1680063" h="1587599">
                <a:moveTo>
                  <a:pt x="23469" y="0"/>
                </a:moveTo>
                <a:cubicBezTo>
                  <a:pt x="648030" y="25947"/>
                  <a:pt x="1221342" y="255814"/>
                  <a:pt x="1680063" y="628703"/>
                </a:cubicBezTo>
                <a:lnTo>
                  <a:pt x="1426718" y="1229154"/>
                </a:lnTo>
                <a:lnTo>
                  <a:pt x="662412" y="1587599"/>
                </a:lnTo>
                <a:cubicBezTo>
                  <a:pt x="463983" y="1479615"/>
                  <a:pt x="239095" y="1414515"/>
                  <a:pt x="0" y="1404060"/>
                </a:cubicBezTo>
                <a:lnTo>
                  <a:pt x="283794" y="67795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Donut 24">
            <a:extLst>
              <a:ext uri="{FF2B5EF4-FFF2-40B4-BE49-F238E27FC236}">
                <a16:creationId xmlns:a16="http://schemas.microsoft.com/office/drawing/2014/main" id="{8BF17C80-DB67-49AF-1707-30D466E585F5}"/>
              </a:ext>
            </a:extLst>
          </p:cNvPr>
          <p:cNvSpPr/>
          <p:nvPr/>
        </p:nvSpPr>
        <p:spPr>
          <a:xfrm rot="18859168">
            <a:off x="3498289" y="1001910"/>
            <a:ext cx="1163349" cy="1118523"/>
          </a:xfrm>
          <a:custGeom>
            <a:avLst/>
            <a:gdLst>
              <a:gd name="connsiteX0" fmla="*/ 970678 w 2130202"/>
              <a:gd name="connsiteY0" fmla="*/ 2000917 h 2043773"/>
              <a:gd name="connsiteX1" fmla="*/ 1016277 w 2130202"/>
              <a:gd name="connsiteY1" fmla="*/ 2043773 h 2043773"/>
              <a:gd name="connsiteX2" fmla="*/ 970678 w 2130202"/>
              <a:gd name="connsiteY2" fmla="*/ 2000917 h 2043773"/>
              <a:gd name="connsiteX3" fmla="*/ 2104790 w 2130202"/>
              <a:gd name="connsiteY3" fmla="*/ 886382 h 2043773"/>
              <a:gd name="connsiteX4" fmla="*/ 2130202 w 2130202"/>
              <a:gd name="connsiteY4" fmla="*/ 910265 h 2043773"/>
              <a:gd name="connsiteX5" fmla="*/ 2060315 w 2130202"/>
              <a:gd name="connsiteY5" fmla="*/ 981381 h 2043773"/>
              <a:gd name="connsiteX6" fmla="*/ 2104790 w 2130202"/>
              <a:gd name="connsiteY6" fmla="*/ 886382 h 2043773"/>
              <a:gd name="connsiteX7" fmla="*/ 0 w 2130202"/>
              <a:gd name="connsiteY7" fmla="*/ 0 h 2043773"/>
              <a:gd name="connsiteX8" fmla="*/ 1900448 w 2130202"/>
              <a:gd name="connsiteY8" fmla="*/ 697070 h 2043773"/>
              <a:gd name="connsiteX9" fmla="*/ 1591947 w 2130202"/>
              <a:gd name="connsiteY9" fmla="*/ 1417307 h 2043773"/>
              <a:gd name="connsiteX10" fmla="*/ 747346 w 2130202"/>
              <a:gd name="connsiteY10" fmla="*/ 1827219 h 2043773"/>
              <a:gd name="connsiteX11" fmla="*/ 0 w 2130202"/>
              <a:gd name="connsiteY11" fmla="*/ 1609503 h 2043773"/>
              <a:gd name="connsiteX12" fmla="*/ 264145 w 2130202"/>
              <a:gd name="connsiteY12" fmla="*/ 789774 h 2043773"/>
              <a:gd name="connsiteX13" fmla="*/ 0 w 2130202"/>
              <a:gd name="connsiteY13" fmla="*/ 0 h 2043773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060315 w 2130202"/>
              <a:gd name="connsiteY2" fmla="*/ 981381 h 1827219"/>
              <a:gd name="connsiteX3" fmla="*/ 2104790 w 2130202"/>
              <a:gd name="connsiteY3" fmla="*/ 886382 h 1827219"/>
              <a:gd name="connsiteX4" fmla="*/ 0 w 2130202"/>
              <a:gd name="connsiteY4" fmla="*/ 0 h 1827219"/>
              <a:gd name="connsiteX5" fmla="*/ 1900448 w 2130202"/>
              <a:gd name="connsiteY5" fmla="*/ 697070 h 1827219"/>
              <a:gd name="connsiteX6" fmla="*/ 1591947 w 2130202"/>
              <a:gd name="connsiteY6" fmla="*/ 1417307 h 1827219"/>
              <a:gd name="connsiteX7" fmla="*/ 747346 w 2130202"/>
              <a:gd name="connsiteY7" fmla="*/ 1827219 h 1827219"/>
              <a:gd name="connsiteX8" fmla="*/ 0 w 2130202"/>
              <a:gd name="connsiteY8" fmla="*/ 1609503 h 1827219"/>
              <a:gd name="connsiteX9" fmla="*/ 264145 w 2130202"/>
              <a:gd name="connsiteY9" fmla="*/ 789774 h 1827219"/>
              <a:gd name="connsiteX10" fmla="*/ 0 w 2130202"/>
              <a:gd name="connsiteY10" fmla="*/ 0 h 1827219"/>
              <a:gd name="connsiteX0" fmla="*/ 2104790 w 2130202"/>
              <a:gd name="connsiteY0" fmla="*/ 886382 h 1827219"/>
              <a:gd name="connsiteX1" fmla="*/ 2130202 w 2130202"/>
              <a:gd name="connsiteY1" fmla="*/ 910265 h 1827219"/>
              <a:gd name="connsiteX2" fmla="*/ 2104790 w 2130202"/>
              <a:gd name="connsiteY2" fmla="*/ 886382 h 1827219"/>
              <a:gd name="connsiteX3" fmla="*/ 0 w 2130202"/>
              <a:gd name="connsiteY3" fmla="*/ 0 h 1827219"/>
              <a:gd name="connsiteX4" fmla="*/ 1900448 w 2130202"/>
              <a:gd name="connsiteY4" fmla="*/ 697070 h 1827219"/>
              <a:gd name="connsiteX5" fmla="*/ 1591947 w 2130202"/>
              <a:gd name="connsiteY5" fmla="*/ 1417307 h 1827219"/>
              <a:gd name="connsiteX6" fmla="*/ 747346 w 2130202"/>
              <a:gd name="connsiteY6" fmla="*/ 1827219 h 1827219"/>
              <a:gd name="connsiteX7" fmla="*/ 0 w 2130202"/>
              <a:gd name="connsiteY7" fmla="*/ 1609503 h 1827219"/>
              <a:gd name="connsiteX8" fmla="*/ 264145 w 2130202"/>
              <a:gd name="connsiteY8" fmla="*/ 789774 h 1827219"/>
              <a:gd name="connsiteX9" fmla="*/ 0 w 2130202"/>
              <a:gd name="connsiteY9" fmla="*/ 0 h 1827219"/>
              <a:gd name="connsiteX0" fmla="*/ 0 w 1900448"/>
              <a:gd name="connsiteY0" fmla="*/ 0 h 1827219"/>
              <a:gd name="connsiteX1" fmla="*/ 1900448 w 1900448"/>
              <a:gd name="connsiteY1" fmla="*/ 697070 h 1827219"/>
              <a:gd name="connsiteX2" fmla="*/ 1591947 w 1900448"/>
              <a:gd name="connsiteY2" fmla="*/ 1417307 h 1827219"/>
              <a:gd name="connsiteX3" fmla="*/ 747346 w 1900448"/>
              <a:gd name="connsiteY3" fmla="*/ 1827219 h 1827219"/>
              <a:gd name="connsiteX4" fmla="*/ 0 w 1900448"/>
              <a:gd name="connsiteY4" fmla="*/ 1609503 h 1827219"/>
              <a:gd name="connsiteX5" fmla="*/ 264145 w 1900448"/>
              <a:gd name="connsiteY5" fmla="*/ 789774 h 1827219"/>
              <a:gd name="connsiteX6" fmla="*/ 0 w 1900448"/>
              <a:gd name="connsiteY6" fmla="*/ 0 h 1827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0448" h="1827219">
                <a:moveTo>
                  <a:pt x="0" y="0"/>
                </a:moveTo>
                <a:cubicBezTo>
                  <a:pt x="721537" y="0"/>
                  <a:pt x="1383611" y="261067"/>
                  <a:pt x="1900448" y="697070"/>
                </a:cubicBezTo>
                <a:lnTo>
                  <a:pt x="1591947" y="1417307"/>
                </a:lnTo>
                <a:lnTo>
                  <a:pt x="747346" y="1827219"/>
                </a:lnTo>
                <a:cubicBezTo>
                  <a:pt x="530554" y="1688578"/>
                  <a:pt x="274282" y="1609503"/>
                  <a:pt x="0" y="1609503"/>
                </a:cubicBezTo>
                <a:lnTo>
                  <a:pt x="264145" y="789774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508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Donut 24">
            <a:extLst>
              <a:ext uri="{FF2B5EF4-FFF2-40B4-BE49-F238E27FC236}">
                <a16:creationId xmlns:a16="http://schemas.microsoft.com/office/drawing/2014/main" id="{1FA4CDEA-28D6-938E-7700-D710AE90A0D7}"/>
              </a:ext>
            </a:extLst>
          </p:cNvPr>
          <p:cNvSpPr/>
          <p:nvPr/>
        </p:nvSpPr>
        <p:spPr>
          <a:xfrm rot="18859168">
            <a:off x="3562489" y="1064400"/>
            <a:ext cx="1028442" cy="971841"/>
          </a:xfrm>
          <a:custGeom>
            <a:avLst/>
            <a:gdLst/>
            <a:ahLst/>
            <a:cxnLst/>
            <a:rect l="l" t="t" r="r" b="b"/>
            <a:pathLst>
              <a:path w="1680063" h="1587599">
                <a:moveTo>
                  <a:pt x="23469" y="0"/>
                </a:moveTo>
                <a:cubicBezTo>
                  <a:pt x="648030" y="25947"/>
                  <a:pt x="1221342" y="255814"/>
                  <a:pt x="1680063" y="628703"/>
                </a:cubicBezTo>
                <a:lnTo>
                  <a:pt x="1426718" y="1229154"/>
                </a:lnTo>
                <a:lnTo>
                  <a:pt x="662412" y="1587599"/>
                </a:lnTo>
                <a:cubicBezTo>
                  <a:pt x="463983" y="1479615"/>
                  <a:pt x="239095" y="1414515"/>
                  <a:pt x="0" y="1404060"/>
                </a:cubicBezTo>
                <a:lnTo>
                  <a:pt x="283794" y="67795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Freeform 229">
            <a:extLst>
              <a:ext uri="{FF2B5EF4-FFF2-40B4-BE49-F238E27FC236}">
                <a16:creationId xmlns:a16="http://schemas.microsoft.com/office/drawing/2014/main" id="{677A0E00-99AE-07D2-E692-2448373DA88F}"/>
              </a:ext>
            </a:extLst>
          </p:cNvPr>
          <p:cNvSpPr/>
          <p:nvPr/>
        </p:nvSpPr>
        <p:spPr>
          <a:xfrm rot="18999791">
            <a:off x="5840211" y="2176116"/>
            <a:ext cx="256490" cy="446740"/>
          </a:xfrm>
          <a:custGeom>
            <a:avLst/>
            <a:gdLst>
              <a:gd name="connsiteX0" fmla="*/ 1792357 w 2278359"/>
              <a:gd name="connsiteY0" fmla="*/ 471044 h 3989954"/>
              <a:gd name="connsiteX1" fmla="*/ 434587 w 2278359"/>
              <a:gd name="connsiteY1" fmla="*/ 510467 h 3989954"/>
              <a:gd name="connsiteX2" fmla="*/ 474013 w 2278359"/>
              <a:gd name="connsiteY2" fmla="*/ 1868237 h 3989954"/>
              <a:gd name="connsiteX3" fmla="*/ 1831783 w 2278359"/>
              <a:gd name="connsiteY3" fmla="*/ 1828814 h 3989954"/>
              <a:gd name="connsiteX4" fmla="*/ 1792357 w 2278359"/>
              <a:gd name="connsiteY4" fmla="*/ 471044 h 3989954"/>
              <a:gd name="connsiteX5" fmla="*/ 1885333 w 2278359"/>
              <a:gd name="connsiteY5" fmla="*/ 283261 h 3989954"/>
              <a:gd name="connsiteX6" fmla="*/ 1969376 w 2278359"/>
              <a:gd name="connsiteY6" fmla="*/ 365568 h 3989954"/>
              <a:gd name="connsiteX7" fmla="*/ 1919239 w 2278359"/>
              <a:gd name="connsiteY7" fmla="*/ 2004733 h 3989954"/>
              <a:gd name="connsiteX8" fmla="*/ 1321847 w 2278359"/>
              <a:gd name="connsiteY8" fmla="*/ 2304377 h 3989954"/>
              <a:gd name="connsiteX9" fmla="*/ 1255970 w 2278359"/>
              <a:gd name="connsiteY9" fmla="*/ 2308700 h 3989954"/>
              <a:gd name="connsiteX10" fmla="*/ 1255970 w 2278359"/>
              <a:gd name="connsiteY10" fmla="*/ 2543326 h 3989954"/>
              <a:gd name="connsiteX11" fmla="*/ 1309237 w 2278359"/>
              <a:gd name="connsiteY11" fmla="*/ 2582393 h 3989954"/>
              <a:gd name="connsiteX12" fmla="*/ 1395670 w 2278359"/>
              <a:gd name="connsiteY12" fmla="*/ 2815036 h 3989954"/>
              <a:gd name="connsiteX13" fmla="*/ 1369365 w 2278359"/>
              <a:gd name="connsiteY13" fmla="*/ 3675091 h 3989954"/>
              <a:gd name="connsiteX14" fmla="*/ 1040345 w 2278359"/>
              <a:gd name="connsiteY14" fmla="*/ 3989794 h 3989954"/>
              <a:gd name="connsiteX15" fmla="*/ 1040345 w 2278359"/>
              <a:gd name="connsiteY15" fmla="*/ 3989790 h 3989954"/>
              <a:gd name="connsiteX16" fmla="*/ 731192 w 2278359"/>
              <a:gd name="connsiteY16" fmla="*/ 3654862 h 3989954"/>
              <a:gd name="connsiteX17" fmla="*/ 757502 w 2278359"/>
              <a:gd name="connsiteY17" fmla="*/ 2794811 h 3989954"/>
              <a:gd name="connsiteX18" fmla="*/ 857986 w 2278359"/>
              <a:gd name="connsiteY18" fmla="*/ 2568093 h 3989954"/>
              <a:gd name="connsiteX19" fmla="*/ 934106 w 2278359"/>
              <a:gd name="connsiteY19" fmla="*/ 2519287 h 3989954"/>
              <a:gd name="connsiteX20" fmla="*/ 934106 w 2278359"/>
              <a:gd name="connsiteY20" fmla="*/ 2296711 h 3989954"/>
              <a:gd name="connsiteX21" fmla="*/ 886906 w 2278359"/>
              <a:gd name="connsiteY21" fmla="*/ 2290589 h 3989954"/>
              <a:gd name="connsiteX22" fmla="*/ 308981 w 2278359"/>
              <a:gd name="connsiteY22" fmla="*/ 1953696 h 3989954"/>
              <a:gd name="connsiteX23" fmla="*/ 359117 w 2278359"/>
              <a:gd name="connsiteY23" fmla="*/ 314532 h 3989954"/>
              <a:gd name="connsiteX24" fmla="*/ 1885333 w 2278359"/>
              <a:gd name="connsiteY24" fmla="*/ 283261 h 3989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278359" h="3989954">
                <a:moveTo>
                  <a:pt x="1792357" y="471044"/>
                </a:moveTo>
                <a:cubicBezTo>
                  <a:pt x="1406533" y="106992"/>
                  <a:pt x="798638" y="124643"/>
                  <a:pt x="434587" y="510467"/>
                </a:cubicBezTo>
                <a:cubicBezTo>
                  <a:pt x="70537" y="896291"/>
                  <a:pt x="88188" y="1504185"/>
                  <a:pt x="474013" y="1868237"/>
                </a:cubicBezTo>
                <a:cubicBezTo>
                  <a:pt x="859838" y="2232288"/>
                  <a:pt x="1467733" y="2214638"/>
                  <a:pt x="1831783" y="1828814"/>
                </a:cubicBezTo>
                <a:cubicBezTo>
                  <a:pt x="2195834" y="1442990"/>
                  <a:pt x="2178182" y="835095"/>
                  <a:pt x="1792357" y="471044"/>
                </a:cubicBezTo>
                <a:close/>
                <a:moveTo>
                  <a:pt x="1885333" y="283261"/>
                </a:moveTo>
                <a:cubicBezTo>
                  <a:pt x="1914390" y="308960"/>
                  <a:pt x="1942450" y="336397"/>
                  <a:pt x="1969376" y="365568"/>
                </a:cubicBezTo>
                <a:cubicBezTo>
                  <a:pt x="2400194" y="832304"/>
                  <a:pt x="2377747" y="1566184"/>
                  <a:pt x="1919239" y="2004733"/>
                </a:cubicBezTo>
                <a:cubicBezTo>
                  <a:pt x="1747300" y="2169194"/>
                  <a:pt x="1538456" y="2268763"/>
                  <a:pt x="1321847" y="2304377"/>
                </a:cubicBezTo>
                <a:lnTo>
                  <a:pt x="1255970" y="2308700"/>
                </a:lnTo>
                <a:lnTo>
                  <a:pt x="1255970" y="2543326"/>
                </a:lnTo>
                <a:lnTo>
                  <a:pt x="1309237" y="2582393"/>
                </a:lnTo>
                <a:cubicBezTo>
                  <a:pt x="1365185" y="2643003"/>
                  <a:pt x="1398412" y="2725341"/>
                  <a:pt x="1395670" y="2815036"/>
                </a:cubicBezTo>
                <a:lnTo>
                  <a:pt x="1369365" y="3675091"/>
                </a:lnTo>
                <a:cubicBezTo>
                  <a:pt x="1363875" y="3854485"/>
                  <a:pt x="1216570" y="3995377"/>
                  <a:pt x="1040345" y="3989794"/>
                </a:cubicBezTo>
                <a:lnTo>
                  <a:pt x="1040345" y="3989790"/>
                </a:lnTo>
                <a:cubicBezTo>
                  <a:pt x="864115" y="3984202"/>
                  <a:pt x="725707" y="3834251"/>
                  <a:pt x="731192" y="3654862"/>
                </a:cubicBezTo>
                <a:lnTo>
                  <a:pt x="757502" y="2794811"/>
                </a:lnTo>
                <a:cubicBezTo>
                  <a:pt x="760244" y="2705112"/>
                  <a:pt x="798445" y="2625041"/>
                  <a:pt x="857986" y="2568093"/>
                </a:cubicBezTo>
                <a:lnTo>
                  <a:pt x="934106" y="2519287"/>
                </a:lnTo>
                <a:lnTo>
                  <a:pt x="934106" y="2296711"/>
                </a:lnTo>
                <a:lnTo>
                  <a:pt x="886906" y="2290589"/>
                </a:lnTo>
                <a:cubicBezTo>
                  <a:pt x="672890" y="2241330"/>
                  <a:pt x="470536" y="2128727"/>
                  <a:pt x="308981" y="1953696"/>
                </a:cubicBezTo>
                <a:cubicBezTo>
                  <a:pt x="-121834" y="1486961"/>
                  <a:pt x="-99387" y="753081"/>
                  <a:pt x="359117" y="314532"/>
                </a:cubicBezTo>
                <a:cubicBezTo>
                  <a:pt x="788968" y="-96612"/>
                  <a:pt x="1449465" y="-102226"/>
                  <a:pt x="1885333" y="283261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1" b="0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charset="0"/>
              <a:ea typeface="ＭＳ Ｐゴシック" charset="0"/>
            </a:endParaRPr>
          </a:p>
        </p:txBody>
      </p:sp>
      <p:sp>
        <p:nvSpPr>
          <p:cNvPr id="69" name="Freeform 1230">
            <a:extLst>
              <a:ext uri="{FF2B5EF4-FFF2-40B4-BE49-F238E27FC236}">
                <a16:creationId xmlns:a16="http://schemas.microsoft.com/office/drawing/2014/main" id="{22B36177-9F94-FEB6-D5E1-21B09159367B}"/>
              </a:ext>
            </a:extLst>
          </p:cNvPr>
          <p:cNvSpPr/>
          <p:nvPr/>
        </p:nvSpPr>
        <p:spPr>
          <a:xfrm>
            <a:off x="4928738" y="3870956"/>
            <a:ext cx="316682" cy="461265"/>
          </a:xfrm>
          <a:custGeom>
            <a:avLst/>
            <a:gdLst>
              <a:gd name="connsiteX0" fmla="*/ 429428 w 560646"/>
              <a:gd name="connsiteY0" fmla="*/ 703064 h 816614"/>
              <a:gd name="connsiteX1" fmla="*/ 429494 w 560646"/>
              <a:gd name="connsiteY1" fmla="*/ 767268 h 816614"/>
              <a:gd name="connsiteX2" fmla="*/ 353936 w 560646"/>
              <a:gd name="connsiteY2" fmla="*/ 767163 h 816614"/>
              <a:gd name="connsiteX3" fmla="*/ 353936 w 560646"/>
              <a:gd name="connsiteY3" fmla="*/ 777446 h 816614"/>
              <a:gd name="connsiteX4" fmla="*/ 314768 w 560646"/>
              <a:gd name="connsiteY4" fmla="*/ 816614 h 816614"/>
              <a:gd name="connsiteX5" fmla="*/ 252826 w 560646"/>
              <a:gd name="connsiteY5" fmla="*/ 816614 h 816614"/>
              <a:gd name="connsiteX6" fmla="*/ 213658 w 560646"/>
              <a:gd name="connsiteY6" fmla="*/ 777446 h 816614"/>
              <a:gd name="connsiteX7" fmla="*/ 213658 w 560646"/>
              <a:gd name="connsiteY7" fmla="*/ 766967 h 816614"/>
              <a:gd name="connsiteX8" fmla="*/ 139427 w 560646"/>
              <a:gd name="connsiteY8" fmla="*/ 766863 h 816614"/>
              <a:gd name="connsiteX9" fmla="*/ 139070 w 560646"/>
              <a:gd name="connsiteY9" fmla="*/ 743204 h 816614"/>
              <a:gd name="connsiteX10" fmla="*/ 430826 w 560646"/>
              <a:gd name="connsiteY10" fmla="*/ 638515 h 816614"/>
              <a:gd name="connsiteX11" fmla="*/ 430892 w 560646"/>
              <a:gd name="connsiteY11" fmla="*/ 686535 h 816614"/>
              <a:gd name="connsiteX12" fmla="*/ 139071 w 560646"/>
              <a:gd name="connsiteY12" fmla="*/ 719001 h 816614"/>
              <a:gd name="connsiteX13" fmla="*/ 139071 w 560646"/>
              <a:gd name="connsiteY13" fmla="*/ 667944 h 816614"/>
              <a:gd name="connsiteX14" fmla="*/ 314447 w 560646"/>
              <a:gd name="connsiteY14" fmla="*/ 78944 h 816614"/>
              <a:gd name="connsiteX15" fmla="*/ 303179 w 560646"/>
              <a:gd name="connsiteY15" fmla="*/ 105972 h 816614"/>
              <a:gd name="connsiteX16" fmla="*/ 163313 w 560646"/>
              <a:gd name="connsiteY16" fmla="*/ 172157 h 816614"/>
              <a:gd name="connsiteX17" fmla="*/ 103640 w 560646"/>
              <a:gd name="connsiteY17" fmla="*/ 302433 h 816614"/>
              <a:gd name="connsiteX18" fmla="*/ 75512 w 560646"/>
              <a:gd name="connsiteY18" fmla="*/ 303024 h 816614"/>
              <a:gd name="connsiteX19" fmla="*/ 140194 w 560646"/>
              <a:gd name="connsiteY19" fmla="*/ 147456 h 816614"/>
              <a:gd name="connsiteX20" fmla="*/ 314447 w 560646"/>
              <a:gd name="connsiteY20" fmla="*/ 78944 h 816614"/>
              <a:gd name="connsiteX21" fmla="*/ 280323 w 560646"/>
              <a:gd name="connsiteY21" fmla="*/ 42384 h 816614"/>
              <a:gd name="connsiteX22" fmla="*/ 42384 w 560646"/>
              <a:gd name="connsiteY22" fmla="*/ 280322 h 816614"/>
              <a:gd name="connsiteX23" fmla="*/ 166908 w 560646"/>
              <a:gd name="connsiteY23" fmla="*/ 489543 h 816614"/>
              <a:gd name="connsiteX24" fmla="*/ 177566 w 560646"/>
              <a:gd name="connsiteY24" fmla="*/ 494911 h 816614"/>
              <a:gd name="connsiteX25" fmla="*/ 177634 w 560646"/>
              <a:gd name="connsiteY25" fmla="*/ 584720 h 816614"/>
              <a:gd name="connsiteX26" fmla="*/ 382925 w 560646"/>
              <a:gd name="connsiteY26" fmla="*/ 584720 h 816614"/>
              <a:gd name="connsiteX27" fmla="*/ 383081 w 560646"/>
              <a:gd name="connsiteY27" fmla="*/ 494911 h 816614"/>
              <a:gd name="connsiteX28" fmla="*/ 393739 w 560646"/>
              <a:gd name="connsiteY28" fmla="*/ 489543 h 816614"/>
              <a:gd name="connsiteX29" fmla="*/ 518262 w 560646"/>
              <a:gd name="connsiteY29" fmla="*/ 280322 h 816614"/>
              <a:gd name="connsiteX30" fmla="*/ 280323 w 560646"/>
              <a:gd name="connsiteY30" fmla="*/ 42384 h 816614"/>
              <a:gd name="connsiteX31" fmla="*/ 280323 w 560646"/>
              <a:gd name="connsiteY31" fmla="*/ 0 h 816614"/>
              <a:gd name="connsiteX32" fmla="*/ 560646 w 560646"/>
              <a:gd name="connsiteY32" fmla="*/ 280322 h 816614"/>
              <a:gd name="connsiteX33" fmla="*/ 458635 w 560646"/>
              <a:gd name="connsiteY33" fmla="*/ 496633 h 816614"/>
              <a:gd name="connsiteX34" fmla="*/ 430147 w 560646"/>
              <a:gd name="connsiteY34" fmla="*/ 516887 h 816614"/>
              <a:gd name="connsiteX35" fmla="*/ 430433 w 560646"/>
              <a:gd name="connsiteY35" fmla="*/ 621818 h 816614"/>
              <a:gd name="connsiteX36" fmla="*/ 137515 w 560646"/>
              <a:gd name="connsiteY36" fmla="*/ 640883 h 816614"/>
              <a:gd name="connsiteX37" fmla="*/ 137515 w 560646"/>
              <a:gd name="connsiteY37" fmla="*/ 521367 h 816614"/>
              <a:gd name="connsiteX38" fmla="*/ 134966 w 560646"/>
              <a:gd name="connsiteY38" fmla="*/ 520062 h 816614"/>
              <a:gd name="connsiteX39" fmla="*/ 0 w 560646"/>
              <a:gd name="connsiteY39" fmla="*/ 280322 h 816614"/>
              <a:gd name="connsiteX40" fmla="*/ 280323 w 560646"/>
              <a:gd name="connsiteY40" fmla="*/ 0 h 816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60646" h="816614">
                <a:moveTo>
                  <a:pt x="429428" y="703064"/>
                </a:moveTo>
                <a:cubicBezTo>
                  <a:pt x="429428" y="715532"/>
                  <a:pt x="429494" y="754799"/>
                  <a:pt x="429494" y="767268"/>
                </a:cubicBezTo>
                <a:lnTo>
                  <a:pt x="353936" y="767163"/>
                </a:lnTo>
                <a:lnTo>
                  <a:pt x="353936" y="777446"/>
                </a:lnTo>
                <a:cubicBezTo>
                  <a:pt x="353936" y="799078"/>
                  <a:pt x="336401" y="816614"/>
                  <a:pt x="314768" y="816614"/>
                </a:cubicBezTo>
                <a:lnTo>
                  <a:pt x="252826" y="816614"/>
                </a:lnTo>
                <a:cubicBezTo>
                  <a:pt x="231194" y="816614"/>
                  <a:pt x="213658" y="799078"/>
                  <a:pt x="213658" y="777446"/>
                </a:cubicBezTo>
                <a:lnTo>
                  <a:pt x="213658" y="766967"/>
                </a:lnTo>
                <a:lnTo>
                  <a:pt x="139427" y="766863"/>
                </a:lnTo>
                <a:cubicBezTo>
                  <a:pt x="139308" y="758977"/>
                  <a:pt x="139189" y="751090"/>
                  <a:pt x="139070" y="743204"/>
                </a:cubicBezTo>
                <a:close/>
                <a:moveTo>
                  <a:pt x="430826" y="638515"/>
                </a:moveTo>
                <a:cubicBezTo>
                  <a:pt x="430826" y="650983"/>
                  <a:pt x="430892" y="674067"/>
                  <a:pt x="430892" y="686535"/>
                </a:cubicBezTo>
                <a:lnTo>
                  <a:pt x="139071" y="719001"/>
                </a:lnTo>
                <a:lnTo>
                  <a:pt x="139071" y="667944"/>
                </a:lnTo>
                <a:close/>
                <a:moveTo>
                  <a:pt x="314447" y="78944"/>
                </a:moveTo>
                <a:cubicBezTo>
                  <a:pt x="337580" y="84984"/>
                  <a:pt x="321906" y="105539"/>
                  <a:pt x="303179" y="105972"/>
                </a:cubicBezTo>
                <a:cubicBezTo>
                  <a:pt x="259453" y="111873"/>
                  <a:pt x="198310" y="139936"/>
                  <a:pt x="163313" y="172157"/>
                </a:cubicBezTo>
                <a:cubicBezTo>
                  <a:pt x="128315" y="204378"/>
                  <a:pt x="112110" y="256392"/>
                  <a:pt x="103640" y="302433"/>
                </a:cubicBezTo>
                <a:cubicBezTo>
                  <a:pt x="100013" y="321990"/>
                  <a:pt x="76866" y="319702"/>
                  <a:pt x="75512" y="303024"/>
                </a:cubicBezTo>
                <a:cubicBezTo>
                  <a:pt x="74625" y="254490"/>
                  <a:pt x="102479" y="182781"/>
                  <a:pt x="140194" y="147456"/>
                </a:cubicBezTo>
                <a:cubicBezTo>
                  <a:pt x="193973" y="95726"/>
                  <a:pt x="274414" y="73778"/>
                  <a:pt x="314447" y="78944"/>
                </a:cubicBezTo>
                <a:close/>
                <a:moveTo>
                  <a:pt x="280323" y="42384"/>
                </a:moveTo>
                <a:cubicBezTo>
                  <a:pt x="148913" y="42384"/>
                  <a:pt x="42384" y="148913"/>
                  <a:pt x="42384" y="280322"/>
                </a:cubicBezTo>
                <a:cubicBezTo>
                  <a:pt x="42384" y="370667"/>
                  <a:pt x="92736" y="449251"/>
                  <a:pt x="166908" y="489543"/>
                </a:cubicBezTo>
                <a:lnTo>
                  <a:pt x="177566" y="494911"/>
                </a:lnTo>
                <a:cubicBezTo>
                  <a:pt x="177427" y="524847"/>
                  <a:pt x="177773" y="554784"/>
                  <a:pt x="177634" y="584720"/>
                </a:cubicBezTo>
                <a:lnTo>
                  <a:pt x="382925" y="584720"/>
                </a:lnTo>
                <a:cubicBezTo>
                  <a:pt x="382815" y="554784"/>
                  <a:pt x="383191" y="524847"/>
                  <a:pt x="383081" y="494911"/>
                </a:cubicBezTo>
                <a:lnTo>
                  <a:pt x="393739" y="489543"/>
                </a:lnTo>
                <a:cubicBezTo>
                  <a:pt x="467910" y="449251"/>
                  <a:pt x="518262" y="370667"/>
                  <a:pt x="518262" y="280322"/>
                </a:cubicBezTo>
                <a:cubicBezTo>
                  <a:pt x="518262" y="148913"/>
                  <a:pt x="411733" y="42384"/>
                  <a:pt x="280323" y="42384"/>
                </a:cubicBezTo>
                <a:close/>
                <a:moveTo>
                  <a:pt x="280323" y="0"/>
                </a:moveTo>
                <a:cubicBezTo>
                  <a:pt x="435142" y="0"/>
                  <a:pt x="560646" y="125505"/>
                  <a:pt x="560646" y="280322"/>
                </a:cubicBezTo>
                <a:cubicBezTo>
                  <a:pt x="560646" y="367408"/>
                  <a:pt x="520936" y="445218"/>
                  <a:pt x="458635" y="496633"/>
                </a:cubicBezTo>
                <a:lnTo>
                  <a:pt x="430147" y="516887"/>
                </a:lnTo>
                <a:cubicBezTo>
                  <a:pt x="429972" y="550358"/>
                  <a:pt x="430608" y="588348"/>
                  <a:pt x="430433" y="621818"/>
                </a:cubicBezTo>
                <a:lnTo>
                  <a:pt x="137515" y="640883"/>
                </a:lnTo>
                <a:lnTo>
                  <a:pt x="137515" y="521367"/>
                </a:lnTo>
                <a:lnTo>
                  <a:pt x="134966" y="520062"/>
                </a:lnTo>
                <a:cubicBezTo>
                  <a:pt x="54051" y="470897"/>
                  <a:pt x="0" y="381922"/>
                  <a:pt x="0" y="280322"/>
                </a:cubicBezTo>
                <a:cubicBezTo>
                  <a:pt x="0" y="125505"/>
                  <a:pt x="125506" y="0"/>
                  <a:pt x="280323" y="0"/>
                </a:cubicBez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71" name="Freeform 351">
            <a:extLst>
              <a:ext uri="{FF2B5EF4-FFF2-40B4-BE49-F238E27FC236}">
                <a16:creationId xmlns:a16="http://schemas.microsoft.com/office/drawing/2014/main" id="{658787A3-7253-9027-C616-741D8286BDAE}"/>
              </a:ext>
            </a:extLst>
          </p:cNvPr>
          <p:cNvSpPr/>
          <p:nvPr/>
        </p:nvSpPr>
        <p:spPr>
          <a:xfrm rot="15232811">
            <a:off x="3245643" y="3346355"/>
            <a:ext cx="221536" cy="53472"/>
          </a:xfrm>
          <a:custGeom>
            <a:avLst/>
            <a:gdLst>
              <a:gd name="connsiteX0" fmla="*/ 107583 w 668513"/>
              <a:gd name="connsiteY0" fmla="*/ 0 h 82369"/>
              <a:gd name="connsiteX1" fmla="*/ 560930 w 668513"/>
              <a:gd name="connsiteY1" fmla="*/ 0 h 82369"/>
              <a:gd name="connsiteX2" fmla="*/ 665935 w 668513"/>
              <a:gd name="connsiteY2" fmla="*/ 69602 h 82369"/>
              <a:gd name="connsiteX3" fmla="*/ 668513 w 668513"/>
              <a:gd name="connsiteY3" fmla="*/ 82369 h 82369"/>
              <a:gd name="connsiteX4" fmla="*/ 0 w 668513"/>
              <a:gd name="connsiteY4" fmla="*/ 82369 h 82369"/>
              <a:gd name="connsiteX5" fmla="*/ 2578 w 668513"/>
              <a:gd name="connsiteY5" fmla="*/ 69602 h 82369"/>
              <a:gd name="connsiteX6" fmla="*/ 107583 w 668513"/>
              <a:gd name="connsiteY6" fmla="*/ 0 h 82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513" h="82369">
                <a:moveTo>
                  <a:pt x="107583" y="0"/>
                </a:moveTo>
                <a:lnTo>
                  <a:pt x="560930" y="0"/>
                </a:lnTo>
                <a:cubicBezTo>
                  <a:pt x="608134" y="0"/>
                  <a:pt x="648635" y="28700"/>
                  <a:pt x="665935" y="69602"/>
                </a:cubicBezTo>
                <a:lnTo>
                  <a:pt x="668513" y="82369"/>
                </a:lnTo>
                <a:lnTo>
                  <a:pt x="0" y="82369"/>
                </a:lnTo>
                <a:lnTo>
                  <a:pt x="2578" y="69602"/>
                </a:lnTo>
                <a:cubicBezTo>
                  <a:pt x="19878" y="28700"/>
                  <a:pt x="60379" y="0"/>
                  <a:pt x="10758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1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Trapezoid 71">
            <a:extLst>
              <a:ext uri="{FF2B5EF4-FFF2-40B4-BE49-F238E27FC236}">
                <a16:creationId xmlns:a16="http://schemas.microsoft.com/office/drawing/2014/main" id="{6036E2D9-4EEA-8EEE-65D8-DE7C68989252}"/>
              </a:ext>
            </a:extLst>
          </p:cNvPr>
          <p:cNvSpPr/>
          <p:nvPr/>
        </p:nvSpPr>
        <p:spPr>
          <a:xfrm rot="15240588">
            <a:off x="3188923" y="3297260"/>
            <a:ext cx="197346" cy="194868"/>
          </a:xfrm>
          <a:prstGeom prst="trapezoid">
            <a:avLst>
              <a:gd name="adj" fmla="val 28203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1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Rounded Rectangle 353">
            <a:extLst>
              <a:ext uri="{FF2B5EF4-FFF2-40B4-BE49-F238E27FC236}">
                <a16:creationId xmlns:a16="http://schemas.microsoft.com/office/drawing/2014/main" id="{F4584ACC-B3AD-072B-C515-703DD94E251E}"/>
              </a:ext>
            </a:extLst>
          </p:cNvPr>
          <p:cNvSpPr/>
          <p:nvPr/>
        </p:nvSpPr>
        <p:spPr>
          <a:xfrm rot="21313269">
            <a:off x="3208171" y="3428578"/>
            <a:ext cx="66047" cy="10982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1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Freeform 354">
            <a:extLst>
              <a:ext uri="{FF2B5EF4-FFF2-40B4-BE49-F238E27FC236}">
                <a16:creationId xmlns:a16="http://schemas.microsoft.com/office/drawing/2014/main" id="{26D6C6CF-3356-C61A-BD10-6DA4F6580A16}"/>
              </a:ext>
            </a:extLst>
          </p:cNvPr>
          <p:cNvSpPr/>
          <p:nvPr/>
        </p:nvSpPr>
        <p:spPr>
          <a:xfrm rot="20621845">
            <a:off x="3143962" y="3388347"/>
            <a:ext cx="37662" cy="103772"/>
          </a:xfrm>
          <a:custGeom>
            <a:avLst/>
            <a:gdLst>
              <a:gd name="connsiteX0" fmla="*/ 141208 w 141208"/>
              <a:gd name="connsiteY0" fmla="*/ 0 h 389072"/>
              <a:gd name="connsiteX1" fmla="*/ 141208 w 141208"/>
              <a:gd name="connsiteY1" fmla="*/ 389072 h 389072"/>
              <a:gd name="connsiteX2" fmla="*/ 131282 w 141208"/>
              <a:gd name="connsiteY2" fmla="*/ 387100 h 389072"/>
              <a:gd name="connsiteX3" fmla="*/ 840 w 141208"/>
              <a:gd name="connsiteY3" fmla="*/ 177713 h 389072"/>
              <a:gd name="connsiteX4" fmla="*/ 129867 w 141208"/>
              <a:gd name="connsiteY4" fmla="*/ 2750 h 389072"/>
              <a:gd name="connsiteX5" fmla="*/ 141208 w 141208"/>
              <a:gd name="connsiteY5" fmla="*/ 0 h 389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1208" h="389072">
                <a:moveTo>
                  <a:pt x="141208" y="0"/>
                </a:moveTo>
                <a:lnTo>
                  <a:pt x="141208" y="389072"/>
                </a:lnTo>
                <a:lnTo>
                  <a:pt x="131282" y="387100"/>
                </a:lnTo>
                <a:cubicBezTo>
                  <a:pt x="48683" y="361046"/>
                  <a:pt x="-7621" y="274644"/>
                  <a:pt x="840" y="177713"/>
                </a:cubicBezTo>
                <a:cubicBezTo>
                  <a:pt x="8092" y="94630"/>
                  <a:pt x="60865" y="27408"/>
                  <a:pt x="129867" y="2750"/>
                </a:cubicBezTo>
                <a:lnTo>
                  <a:pt x="14120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1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Freeform 355">
            <a:extLst>
              <a:ext uri="{FF2B5EF4-FFF2-40B4-BE49-F238E27FC236}">
                <a16:creationId xmlns:a16="http://schemas.microsoft.com/office/drawing/2014/main" id="{299ADE37-CD9D-F260-BEF2-D7F7F63450CB}"/>
              </a:ext>
            </a:extLst>
          </p:cNvPr>
          <p:cNvSpPr/>
          <p:nvPr/>
        </p:nvSpPr>
        <p:spPr>
          <a:xfrm rot="21398929">
            <a:off x="3370102" y="3250938"/>
            <a:ext cx="140703" cy="236607"/>
          </a:xfrm>
          <a:custGeom>
            <a:avLst/>
            <a:gdLst>
              <a:gd name="connsiteX0" fmla="*/ 84153 w 527543"/>
              <a:gd name="connsiteY0" fmla="*/ 0 h 887111"/>
              <a:gd name="connsiteX1" fmla="*/ 527543 w 527543"/>
              <a:gd name="connsiteY1" fmla="*/ 453659 h 887111"/>
              <a:gd name="connsiteX2" fmla="*/ 256740 w 527543"/>
              <a:gd name="connsiteY2" fmla="*/ 871667 h 887111"/>
              <a:gd name="connsiteX3" fmla="*/ 208115 w 527543"/>
              <a:gd name="connsiteY3" fmla="*/ 887111 h 887111"/>
              <a:gd name="connsiteX4" fmla="*/ 186640 w 527543"/>
              <a:gd name="connsiteY4" fmla="*/ 796468 h 887111"/>
              <a:gd name="connsiteX5" fmla="*/ 220414 w 527543"/>
              <a:gd name="connsiteY5" fmla="*/ 785676 h 887111"/>
              <a:gd name="connsiteX6" fmla="*/ 434217 w 527543"/>
              <a:gd name="connsiteY6" fmla="*/ 453659 h 887111"/>
              <a:gd name="connsiteX7" fmla="*/ 84153 w 527543"/>
              <a:gd name="connsiteY7" fmla="*/ 93325 h 887111"/>
              <a:gd name="connsiteX8" fmla="*/ 21592 w 527543"/>
              <a:gd name="connsiteY8" fmla="*/ 99817 h 887111"/>
              <a:gd name="connsiteX9" fmla="*/ 0 w 527543"/>
              <a:gd name="connsiteY9" fmla="*/ 8679 h 887111"/>
              <a:gd name="connsiteX10" fmla="*/ 84153 w 527543"/>
              <a:gd name="connsiteY10" fmla="*/ 0 h 887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7543" h="887111">
                <a:moveTo>
                  <a:pt x="84153" y="0"/>
                </a:moveTo>
                <a:cubicBezTo>
                  <a:pt x="329030" y="0"/>
                  <a:pt x="527542" y="203110"/>
                  <a:pt x="527543" y="453659"/>
                </a:cubicBezTo>
                <a:cubicBezTo>
                  <a:pt x="527542" y="641571"/>
                  <a:pt x="415879" y="802798"/>
                  <a:pt x="256740" y="871667"/>
                </a:cubicBezTo>
                <a:lnTo>
                  <a:pt x="208115" y="887111"/>
                </a:lnTo>
                <a:lnTo>
                  <a:pt x="186640" y="796468"/>
                </a:lnTo>
                <a:lnTo>
                  <a:pt x="220414" y="785676"/>
                </a:lnTo>
                <a:cubicBezTo>
                  <a:pt x="346057" y="730974"/>
                  <a:pt x="434217" y="602914"/>
                  <a:pt x="434217" y="453659"/>
                </a:cubicBezTo>
                <a:cubicBezTo>
                  <a:pt x="434217" y="254652"/>
                  <a:pt x="277488" y="93325"/>
                  <a:pt x="84153" y="93325"/>
                </a:cubicBezTo>
                <a:lnTo>
                  <a:pt x="21592" y="99817"/>
                </a:lnTo>
                <a:lnTo>
                  <a:pt x="0" y="8679"/>
                </a:lnTo>
                <a:lnTo>
                  <a:pt x="8415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1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Freeform 356">
            <a:extLst>
              <a:ext uri="{FF2B5EF4-FFF2-40B4-BE49-F238E27FC236}">
                <a16:creationId xmlns:a16="http://schemas.microsoft.com/office/drawing/2014/main" id="{90D155B6-E31A-7300-78BA-0B0475AD3451}"/>
              </a:ext>
            </a:extLst>
          </p:cNvPr>
          <p:cNvSpPr/>
          <p:nvPr/>
        </p:nvSpPr>
        <p:spPr>
          <a:xfrm rot="21398929">
            <a:off x="3383536" y="3299452"/>
            <a:ext cx="80507" cy="135379"/>
          </a:xfrm>
          <a:custGeom>
            <a:avLst/>
            <a:gdLst>
              <a:gd name="connsiteX0" fmla="*/ 84153 w 527543"/>
              <a:gd name="connsiteY0" fmla="*/ 0 h 887111"/>
              <a:gd name="connsiteX1" fmla="*/ 527543 w 527543"/>
              <a:gd name="connsiteY1" fmla="*/ 453659 h 887111"/>
              <a:gd name="connsiteX2" fmla="*/ 256740 w 527543"/>
              <a:gd name="connsiteY2" fmla="*/ 871667 h 887111"/>
              <a:gd name="connsiteX3" fmla="*/ 208115 w 527543"/>
              <a:gd name="connsiteY3" fmla="*/ 887111 h 887111"/>
              <a:gd name="connsiteX4" fmla="*/ 186640 w 527543"/>
              <a:gd name="connsiteY4" fmla="*/ 796468 h 887111"/>
              <a:gd name="connsiteX5" fmla="*/ 220414 w 527543"/>
              <a:gd name="connsiteY5" fmla="*/ 785676 h 887111"/>
              <a:gd name="connsiteX6" fmla="*/ 434217 w 527543"/>
              <a:gd name="connsiteY6" fmla="*/ 453659 h 887111"/>
              <a:gd name="connsiteX7" fmla="*/ 84153 w 527543"/>
              <a:gd name="connsiteY7" fmla="*/ 93325 h 887111"/>
              <a:gd name="connsiteX8" fmla="*/ 21592 w 527543"/>
              <a:gd name="connsiteY8" fmla="*/ 99817 h 887111"/>
              <a:gd name="connsiteX9" fmla="*/ 0 w 527543"/>
              <a:gd name="connsiteY9" fmla="*/ 8679 h 887111"/>
              <a:gd name="connsiteX10" fmla="*/ 84153 w 527543"/>
              <a:gd name="connsiteY10" fmla="*/ 0 h 887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7543" h="887111">
                <a:moveTo>
                  <a:pt x="84153" y="0"/>
                </a:moveTo>
                <a:cubicBezTo>
                  <a:pt x="329030" y="0"/>
                  <a:pt x="527542" y="203110"/>
                  <a:pt x="527543" y="453659"/>
                </a:cubicBezTo>
                <a:cubicBezTo>
                  <a:pt x="527542" y="641571"/>
                  <a:pt x="415879" y="802798"/>
                  <a:pt x="256740" y="871667"/>
                </a:cubicBezTo>
                <a:lnTo>
                  <a:pt x="208115" y="887111"/>
                </a:lnTo>
                <a:lnTo>
                  <a:pt x="186640" y="796468"/>
                </a:lnTo>
                <a:lnTo>
                  <a:pt x="220414" y="785676"/>
                </a:lnTo>
                <a:cubicBezTo>
                  <a:pt x="346057" y="730974"/>
                  <a:pt x="434217" y="602914"/>
                  <a:pt x="434217" y="453659"/>
                </a:cubicBezTo>
                <a:cubicBezTo>
                  <a:pt x="434217" y="254652"/>
                  <a:pt x="277488" y="93325"/>
                  <a:pt x="84153" y="93325"/>
                </a:cubicBezTo>
                <a:lnTo>
                  <a:pt x="21592" y="99817"/>
                </a:lnTo>
                <a:lnTo>
                  <a:pt x="0" y="8679"/>
                </a:lnTo>
                <a:lnTo>
                  <a:pt x="8415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1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Freeform 357">
            <a:extLst>
              <a:ext uri="{FF2B5EF4-FFF2-40B4-BE49-F238E27FC236}">
                <a16:creationId xmlns:a16="http://schemas.microsoft.com/office/drawing/2014/main" id="{323B7F6F-ED22-B2AB-F751-73782065827D}"/>
              </a:ext>
            </a:extLst>
          </p:cNvPr>
          <p:cNvSpPr/>
          <p:nvPr/>
        </p:nvSpPr>
        <p:spPr>
          <a:xfrm rot="21398929">
            <a:off x="3395023" y="3344372"/>
            <a:ext cx="32203" cy="54153"/>
          </a:xfrm>
          <a:custGeom>
            <a:avLst/>
            <a:gdLst>
              <a:gd name="connsiteX0" fmla="*/ 84153 w 527543"/>
              <a:gd name="connsiteY0" fmla="*/ 0 h 887111"/>
              <a:gd name="connsiteX1" fmla="*/ 527543 w 527543"/>
              <a:gd name="connsiteY1" fmla="*/ 453659 h 887111"/>
              <a:gd name="connsiteX2" fmla="*/ 256740 w 527543"/>
              <a:gd name="connsiteY2" fmla="*/ 871667 h 887111"/>
              <a:gd name="connsiteX3" fmla="*/ 208115 w 527543"/>
              <a:gd name="connsiteY3" fmla="*/ 887111 h 887111"/>
              <a:gd name="connsiteX4" fmla="*/ 186640 w 527543"/>
              <a:gd name="connsiteY4" fmla="*/ 796468 h 887111"/>
              <a:gd name="connsiteX5" fmla="*/ 220414 w 527543"/>
              <a:gd name="connsiteY5" fmla="*/ 785676 h 887111"/>
              <a:gd name="connsiteX6" fmla="*/ 434217 w 527543"/>
              <a:gd name="connsiteY6" fmla="*/ 453659 h 887111"/>
              <a:gd name="connsiteX7" fmla="*/ 84153 w 527543"/>
              <a:gd name="connsiteY7" fmla="*/ 93325 h 887111"/>
              <a:gd name="connsiteX8" fmla="*/ 21592 w 527543"/>
              <a:gd name="connsiteY8" fmla="*/ 99817 h 887111"/>
              <a:gd name="connsiteX9" fmla="*/ 0 w 527543"/>
              <a:gd name="connsiteY9" fmla="*/ 8679 h 887111"/>
              <a:gd name="connsiteX10" fmla="*/ 84153 w 527543"/>
              <a:gd name="connsiteY10" fmla="*/ 0 h 887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7543" h="887111">
                <a:moveTo>
                  <a:pt x="84153" y="0"/>
                </a:moveTo>
                <a:cubicBezTo>
                  <a:pt x="329030" y="0"/>
                  <a:pt x="527542" y="203110"/>
                  <a:pt x="527543" y="453659"/>
                </a:cubicBezTo>
                <a:cubicBezTo>
                  <a:pt x="527542" y="641571"/>
                  <a:pt x="415879" y="802798"/>
                  <a:pt x="256740" y="871667"/>
                </a:cubicBezTo>
                <a:lnTo>
                  <a:pt x="208115" y="887111"/>
                </a:lnTo>
                <a:lnTo>
                  <a:pt x="186640" y="796468"/>
                </a:lnTo>
                <a:lnTo>
                  <a:pt x="220414" y="785676"/>
                </a:lnTo>
                <a:cubicBezTo>
                  <a:pt x="346057" y="730974"/>
                  <a:pt x="434217" y="602914"/>
                  <a:pt x="434217" y="453659"/>
                </a:cubicBezTo>
                <a:cubicBezTo>
                  <a:pt x="434217" y="254652"/>
                  <a:pt x="277488" y="93325"/>
                  <a:pt x="84153" y="93325"/>
                </a:cubicBezTo>
                <a:lnTo>
                  <a:pt x="21592" y="99817"/>
                </a:lnTo>
                <a:lnTo>
                  <a:pt x="0" y="8679"/>
                </a:lnTo>
                <a:lnTo>
                  <a:pt x="8415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91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Freeform 108">
            <a:extLst>
              <a:ext uri="{FF2B5EF4-FFF2-40B4-BE49-F238E27FC236}">
                <a16:creationId xmlns:a16="http://schemas.microsoft.com/office/drawing/2014/main" id="{718BF078-ADC1-8B46-D7AE-99EECA28D28A}"/>
              </a:ext>
            </a:extLst>
          </p:cNvPr>
          <p:cNvSpPr>
            <a:spLocks noEditPoints="1"/>
          </p:cNvSpPr>
          <p:nvPr/>
        </p:nvSpPr>
        <p:spPr bwMode="auto">
          <a:xfrm>
            <a:off x="3873045" y="1385178"/>
            <a:ext cx="399731" cy="400447"/>
          </a:xfrm>
          <a:custGeom>
            <a:avLst/>
            <a:gdLst>
              <a:gd name="T0" fmla="*/ 215 w 557"/>
              <a:gd name="T1" fmla="*/ 124 h 558"/>
              <a:gd name="T2" fmla="*/ 144 w 557"/>
              <a:gd name="T3" fmla="*/ 183 h 558"/>
              <a:gd name="T4" fmla="*/ 116 w 557"/>
              <a:gd name="T5" fmla="*/ 273 h 558"/>
              <a:gd name="T6" fmla="*/ 144 w 557"/>
              <a:gd name="T7" fmla="*/ 363 h 558"/>
              <a:gd name="T8" fmla="*/ 215 w 557"/>
              <a:gd name="T9" fmla="*/ 423 h 558"/>
              <a:gd name="T10" fmla="*/ 311 w 557"/>
              <a:gd name="T11" fmla="*/ 432 h 558"/>
              <a:gd name="T12" fmla="*/ 393 w 557"/>
              <a:gd name="T13" fmla="*/ 388 h 558"/>
              <a:gd name="T14" fmla="*/ 438 w 557"/>
              <a:gd name="T15" fmla="*/ 305 h 558"/>
              <a:gd name="T16" fmla="*/ 429 w 557"/>
              <a:gd name="T17" fmla="*/ 210 h 558"/>
              <a:gd name="T18" fmla="*/ 369 w 557"/>
              <a:gd name="T19" fmla="*/ 138 h 558"/>
              <a:gd name="T20" fmla="*/ 279 w 557"/>
              <a:gd name="T21" fmla="*/ 111 h 558"/>
              <a:gd name="T22" fmla="*/ 261 w 557"/>
              <a:gd name="T23" fmla="*/ 6 h 558"/>
              <a:gd name="T24" fmla="*/ 291 w 557"/>
              <a:gd name="T25" fmla="*/ 53 h 558"/>
              <a:gd name="T26" fmla="*/ 309 w 557"/>
              <a:gd name="T27" fmla="*/ 63 h 558"/>
              <a:gd name="T28" fmla="*/ 329 w 557"/>
              <a:gd name="T29" fmla="*/ 55 h 558"/>
              <a:gd name="T30" fmla="*/ 380 w 557"/>
              <a:gd name="T31" fmla="*/ 17 h 558"/>
              <a:gd name="T32" fmla="*/ 454 w 557"/>
              <a:gd name="T33" fmla="*/ 60 h 558"/>
              <a:gd name="T34" fmla="*/ 457 w 557"/>
              <a:gd name="T35" fmla="*/ 86 h 558"/>
              <a:gd name="T36" fmla="*/ 446 w 557"/>
              <a:gd name="T37" fmla="*/ 133 h 558"/>
              <a:gd name="T38" fmla="*/ 461 w 557"/>
              <a:gd name="T39" fmla="*/ 153 h 558"/>
              <a:gd name="T40" fmla="*/ 512 w 557"/>
              <a:gd name="T41" fmla="*/ 159 h 558"/>
              <a:gd name="T42" fmla="*/ 536 w 557"/>
              <a:gd name="T43" fmla="*/ 167 h 558"/>
              <a:gd name="T44" fmla="*/ 557 w 557"/>
              <a:gd name="T45" fmla="*/ 252 h 558"/>
              <a:gd name="T46" fmla="*/ 509 w 557"/>
              <a:gd name="T47" fmla="*/ 287 h 558"/>
              <a:gd name="T48" fmla="*/ 497 w 557"/>
              <a:gd name="T49" fmla="*/ 297 h 558"/>
              <a:gd name="T50" fmla="*/ 501 w 557"/>
              <a:gd name="T51" fmla="*/ 328 h 558"/>
              <a:gd name="T52" fmla="*/ 536 w 557"/>
              <a:gd name="T53" fmla="*/ 369 h 558"/>
              <a:gd name="T54" fmla="*/ 503 w 557"/>
              <a:gd name="T55" fmla="*/ 448 h 558"/>
              <a:gd name="T56" fmla="*/ 480 w 557"/>
              <a:gd name="T57" fmla="*/ 458 h 558"/>
              <a:gd name="T58" fmla="*/ 429 w 557"/>
              <a:gd name="T59" fmla="*/ 447 h 558"/>
              <a:gd name="T60" fmla="*/ 410 w 557"/>
              <a:gd name="T61" fmla="*/ 452 h 558"/>
              <a:gd name="T62" fmla="*/ 400 w 557"/>
              <a:gd name="T63" fmla="*/ 471 h 558"/>
              <a:gd name="T64" fmla="*/ 395 w 557"/>
              <a:gd name="T65" fmla="*/ 529 h 558"/>
              <a:gd name="T66" fmla="*/ 317 w 557"/>
              <a:gd name="T67" fmla="*/ 558 h 558"/>
              <a:gd name="T68" fmla="*/ 288 w 557"/>
              <a:gd name="T69" fmla="*/ 540 h 558"/>
              <a:gd name="T70" fmla="*/ 263 w 557"/>
              <a:gd name="T71" fmla="*/ 501 h 558"/>
              <a:gd name="T72" fmla="*/ 237 w 557"/>
              <a:gd name="T73" fmla="*/ 496 h 558"/>
              <a:gd name="T74" fmla="*/ 198 w 557"/>
              <a:gd name="T75" fmla="*/ 528 h 558"/>
              <a:gd name="T76" fmla="*/ 167 w 557"/>
              <a:gd name="T77" fmla="*/ 536 h 558"/>
              <a:gd name="T78" fmla="*/ 100 w 557"/>
              <a:gd name="T79" fmla="*/ 489 h 558"/>
              <a:gd name="T80" fmla="*/ 109 w 557"/>
              <a:gd name="T81" fmla="*/ 436 h 558"/>
              <a:gd name="T82" fmla="*/ 109 w 557"/>
              <a:gd name="T83" fmla="*/ 420 h 558"/>
              <a:gd name="T84" fmla="*/ 85 w 557"/>
              <a:gd name="T85" fmla="*/ 400 h 558"/>
              <a:gd name="T86" fmla="*/ 35 w 557"/>
              <a:gd name="T87" fmla="*/ 397 h 558"/>
              <a:gd name="T88" fmla="*/ 16 w 557"/>
              <a:gd name="T89" fmla="*/ 382 h 558"/>
              <a:gd name="T90" fmla="*/ 6 w 557"/>
              <a:gd name="T91" fmla="*/ 296 h 558"/>
              <a:gd name="T92" fmla="*/ 52 w 557"/>
              <a:gd name="T93" fmla="*/ 265 h 558"/>
              <a:gd name="T94" fmla="*/ 62 w 557"/>
              <a:gd name="T95" fmla="*/ 248 h 558"/>
              <a:gd name="T96" fmla="*/ 55 w 557"/>
              <a:gd name="T97" fmla="*/ 227 h 558"/>
              <a:gd name="T98" fmla="*/ 17 w 557"/>
              <a:gd name="T99" fmla="*/ 177 h 558"/>
              <a:gd name="T100" fmla="*/ 60 w 557"/>
              <a:gd name="T101" fmla="*/ 102 h 558"/>
              <a:gd name="T102" fmla="*/ 85 w 557"/>
              <a:gd name="T103" fmla="*/ 101 h 558"/>
              <a:gd name="T104" fmla="*/ 132 w 557"/>
              <a:gd name="T105" fmla="*/ 110 h 558"/>
              <a:gd name="T106" fmla="*/ 153 w 557"/>
              <a:gd name="T107" fmla="*/ 95 h 558"/>
              <a:gd name="T108" fmla="*/ 159 w 557"/>
              <a:gd name="T109" fmla="*/ 45 h 558"/>
              <a:gd name="T110" fmla="*/ 167 w 557"/>
              <a:gd name="T111" fmla="*/ 21 h 5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57" h="558">
                <a:moveTo>
                  <a:pt x="279" y="111"/>
                </a:moveTo>
                <a:lnTo>
                  <a:pt x="246" y="114"/>
                </a:lnTo>
                <a:lnTo>
                  <a:pt x="215" y="124"/>
                </a:lnTo>
                <a:lnTo>
                  <a:pt x="189" y="138"/>
                </a:lnTo>
                <a:lnTo>
                  <a:pt x="164" y="159"/>
                </a:lnTo>
                <a:lnTo>
                  <a:pt x="144" y="183"/>
                </a:lnTo>
                <a:lnTo>
                  <a:pt x="129" y="210"/>
                </a:lnTo>
                <a:lnTo>
                  <a:pt x="120" y="241"/>
                </a:lnTo>
                <a:lnTo>
                  <a:pt x="116" y="273"/>
                </a:lnTo>
                <a:lnTo>
                  <a:pt x="120" y="305"/>
                </a:lnTo>
                <a:lnTo>
                  <a:pt x="129" y="336"/>
                </a:lnTo>
                <a:lnTo>
                  <a:pt x="144" y="363"/>
                </a:lnTo>
                <a:lnTo>
                  <a:pt x="164" y="388"/>
                </a:lnTo>
                <a:lnTo>
                  <a:pt x="189" y="408"/>
                </a:lnTo>
                <a:lnTo>
                  <a:pt x="215" y="423"/>
                </a:lnTo>
                <a:lnTo>
                  <a:pt x="246" y="432"/>
                </a:lnTo>
                <a:lnTo>
                  <a:pt x="279" y="436"/>
                </a:lnTo>
                <a:lnTo>
                  <a:pt x="311" y="432"/>
                </a:lnTo>
                <a:lnTo>
                  <a:pt x="342" y="423"/>
                </a:lnTo>
                <a:lnTo>
                  <a:pt x="369" y="408"/>
                </a:lnTo>
                <a:lnTo>
                  <a:pt x="393" y="388"/>
                </a:lnTo>
                <a:lnTo>
                  <a:pt x="414" y="363"/>
                </a:lnTo>
                <a:lnTo>
                  <a:pt x="429" y="336"/>
                </a:lnTo>
                <a:lnTo>
                  <a:pt x="438" y="305"/>
                </a:lnTo>
                <a:lnTo>
                  <a:pt x="441" y="273"/>
                </a:lnTo>
                <a:lnTo>
                  <a:pt x="438" y="241"/>
                </a:lnTo>
                <a:lnTo>
                  <a:pt x="429" y="210"/>
                </a:lnTo>
                <a:lnTo>
                  <a:pt x="414" y="183"/>
                </a:lnTo>
                <a:lnTo>
                  <a:pt x="393" y="159"/>
                </a:lnTo>
                <a:lnTo>
                  <a:pt x="369" y="138"/>
                </a:lnTo>
                <a:lnTo>
                  <a:pt x="342" y="124"/>
                </a:lnTo>
                <a:lnTo>
                  <a:pt x="311" y="114"/>
                </a:lnTo>
                <a:lnTo>
                  <a:pt x="279" y="111"/>
                </a:lnTo>
                <a:close/>
                <a:moveTo>
                  <a:pt x="240" y="0"/>
                </a:moveTo>
                <a:lnTo>
                  <a:pt x="251" y="0"/>
                </a:lnTo>
                <a:lnTo>
                  <a:pt x="261" y="6"/>
                </a:lnTo>
                <a:lnTo>
                  <a:pt x="268" y="16"/>
                </a:lnTo>
                <a:lnTo>
                  <a:pt x="287" y="47"/>
                </a:lnTo>
                <a:lnTo>
                  <a:pt x="291" y="53"/>
                </a:lnTo>
                <a:lnTo>
                  <a:pt x="294" y="56"/>
                </a:lnTo>
                <a:lnTo>
                  <a:pt x="298" y="59"/>
                </a:lnTo>
                <a:lnTo>
                  <a:pt x="309" y="63"/>
                </a:lnTo>
                <a:lnTo>
                  <a:pt x="319" y="62"/>
                </a:lnTo>
                <a:lnTo>
                  <a:pt x="329" y="56"/>
                </a:lnTo>
                <a:lnTo>
                  <a:pt x="329" y="55"/>
                </a:lnTo>
                <a:lnTo>
                  <a:pt x="358" y="28"/>
                </a:lnTo>
                <a:lnTo>
                  <a:pt x="369" y="21"/>
                </a:lnTo>
                <a:lnTo>
                  <a:pt x="380" y="17"/>
                </a:lnTo>
                <a:lnTo>
                  <a:pt x="391" y="20"/>
                </a:lnTo>
                <a:lnTo>
                  <a:pt x="449" y="53"/>
                </a:lnTo>
                <a:lnTo>
                  <a:pt x="454" y="60"/>
                </a:lnTo>
                <a:lnTo>
                  <a:pt x="458" y="68"/>
                </a:lnTo>
                <a:lnTo>
                  <a:pt x="458" y="76"/>
                </a:lnTo>
                <a:lnTo>
                  <a:pt x="457" y="86"/>
                </a:lnTo>
                <a:lnTo>
                  <a:pt x="449" y="121"/>
                </a:lnTo>
                <a:lnTo>
                  <a:pt x="446" y="128"/>
                </a:lnTo>
                <a:lnTo>
                  <a:pt x="446" y="133"/>
                </a:lnTo>
                <a:lnTo>
                  <a:pt x="447" y="137"/>
                </a:lnTo>
                <a:lnTo>
                  <a:pt x="453" y="146"/>
                </a:lnTo>
                <a:lnTo>
                  <a:pt x="461" y="153"/>
                </a:lnTo>
                <a:lnTo>
                  <a:pt x="472" y="157"/>
                </a:lnTo>
                <a:lnTo>
                  <a:pt x="472" y="157"/>
                </a:lnTo>
                <a:lnTo>
                  <a:pt x="512" y="159"/>
                </a:lnTo>
                <a:lnTo>
                  <a:pt x="522" y="160"/>
                </a:lnTo>
                <a:lnTo>
                  <a:pt x="530" y="163"/>
                </a:lnTo>
                <a:lnTo>
                  <a:pt x="536" y="167"/>
                </a:lnTo>
                <a:lnTo>
                  <a:pt x="540" y="175"/>
                </a:lnTo>
                <a:lnTo>
                  <a:pt x="557" y="239"/>
                </a:lnTo>
                <a:lnTo>
                  <a:pt x="557" y="252"/>
                </a:lnTo>
                <a:lnTo>
                  <a:pt x="550" y="261"/>
                </a:lnTo>
                <a:lnTo>
                  <a:pt x="540" y="268"/>
                </a:lnTo>
                <a:lnTo>
                  <a:pt x="509" y="287"/>
                </a:lnTo>
                <a:lnTo>
                  <a:pt x="504" y="291"/>
                </a:lnTo>
                <a:lnTo>
                  <a:pt x="500" y="295"/>
                </a:lnTo>
                <a:lnTo>
                  <a:pt x="497" y="297"/>
                </a:lnTo>
                <a:lnTo>
                  <a:pt x="495" y="308"/>
                </a:lnTo>
                <a:lnTo>
                  <a:pt x="496" y="319"/>
                </a:lnTo>
                <a:lnTo>
                  <a:pt x="501" y="328"/>
                </a:lnTo>
                <a:lnTo>
                  <a:pt x="501" y="328"/>
                </a:lnTo>
                <a:lnTo>
                  <a:pt x="528" y="358"/>
                </a:lnTo>
                <a:lnTo>
                  <a:pt x="536" y="369"/>
                </a:lnTo>
                <a:lnTo>
                  <a:pt x="539" y="380"/>
                </a:lnTo>
                <a:lnTo>
                  <a:pt x="536" y="390"/>
                </a:lnTo>
                <a:lnTo>
                  <a:pt x="503" y="448"/>
                </a:lnTo>
                <a:lnTo>
                  <a:pt x="497" y="455"/>
                </a:lnTo>
                <a:lnTo>
                  <a:pt x="489" y="458"/>
                </a:lnTo>
                <a:lnTo>
                  <a:pt x="480" y="458"/>
                </a:lnTo>
                <a:lnTo>
                  <a:pt x="472" y="456"/>
                </a:lnTo>
                <a:lnTo>
                  <a:pt x="435" y="448"/>
                </a:lnTo>
                <a:lnTo>
                  <a:pt x="429" y="447"/>
                </a:lnTo>
                <a:lnTo>
                  <a:pt x="424" y="447"/>
                </a:lnTo>
                <a:lnTo>
                  <a:pt x="420" y="447"/>
                </a:lnTo>
                <a:lnTo>
                  <a:pt x="410" y="452"/>
                </a:lnTo>
                <a:lnTo>
                  <a:pt x="403" y="460"/>
                </a:lnTo>
                <a:lnTo>
                  <a:pt x="400" y="471"/>
                </a:lnTo>
                <a:lnTo>
                  <a:pt x="400" y="471"/>
                </a:lnTo>
                <a:lnTo>
                  <a:pt x="399" y="512"/>
                </a:lnTo>
                <a:lnTo>
                  <a:pt x="398" y="521"/>
                </a:lnTo>
                <a:lnTo>
                  <a:pt x="395" y="529"/>
                </a:lnTo>
                <a:lnTo>
                  <a:pt x="389" y="536"/>
                </a:lnTo>
                <a:lnTo>
                  <a:pt x="381" y="540"/>
                </a:lnTo>
                <a:lnTo>
                  <a:pt x="317" y="558"/>
                </a:lnTo>
                <a:lnTo>
                  <a:pt x="306" y="556"/>
                </a:lnTo>
                <a:lnTo>
                  <a:pt x="296" y="551"/>
                </a:lnTo>
                <a:lnTo>
                  <a:pt x="288" y="540"/>
                </a:lnTo>
                <a:lnTo>
                  <a:pt x="269" y="510"/>
                </a:lnTo>
                <a:lnTo>
                  <a:pt x="265" y="504"/>
                </a:lnTo>
                <a:lnTo>
                  <a:pt x="263" y="501"/>
                </a:lnTo>
                <a:lnTo>
                  <a:pt x="259" y="498"/>
                </a:lnTo>
                <a:lnTo>
                  <a:pt x="248" y="494"/>
                </a:lnTo>
                <a:lnTo>
                  <a:pt x="237" y="496"/>
                </a:lnTo>
                <a:lnTo>
                  <a:pt x="228" y="501"/>
                </a:lnTo>
                <a:lnTo>
                  <a:pt x="228" y="501"/>
                </a:lnTo>
                <a:lnTo>
                  <a:pt x="198" y="528"/>
                </a:lnTo>
                <a:lnTo>
                  <a:pt x="187" y="536"/>
                </a:lnTo>
                <a:lnTo>
                  <a:pt x="178" y="539"/>
                </a:lnTo>
                <a:lnTo>
                  <a:pt x="167" y="536"/>
                </a:lnTo>
                <a:lnTo>
                  <a:pt x="109" y="502"/>
                </a:lnTo>
                <a:lnTo>
                  <a:pt x="102" y="497"/>
                </a:lnTo>
                <a:lnTo>
                  <a:pt x="100" y="489"/>
                </a:lnTo>
                <a:lnTo>
                  <a:pt x="98" y="479"/>
                </a:lnTo>
                <a:lnTo>
                  <a:pt x="101" y="471"/>
                </a:lnTo>
                <a:lnTo>
                  <a:pt x="109" y="436"/>
                </a:lnTo>
                <a:lnTo>
                  <a:pt x="110" y="428"/>
                </a:lnTo>
                <a:lnTo>
                  <a:pt x="110" y="424"/>
                </a:lnTo>
                <a:lnTo>
                  <a:pt x="109" y="420"/>
                </a:lnTo>
                <a:lnTo>
                  <a:pt x="104" y="409"/>
                </a:lnTo>
                <a:lnTo>
                  <a:pt x="95" y="403"/>
                </a:lnTo>
                <a:lnTo>
                  <a:pt x="85" y="400"/>
                </a:lnTo>
                <a:lnTo>
                  <a:pt x="85" y="400"/>
                </a:lnTo>
                <a:lnTo>
                  <a:pt x="44" y="398"/>
                </a:lnTo>
                <a:lnTo>
                  <a:pt x="35" y="397"/>
                </a:lnTo>
                <a:lnTo>
                  <a:pt x="27" y="394"/>
                </a:lnTo>
                <a:lnTo>
                  <a:pt x="20" y="389"/>
                </a:lnTo>
                <a:lnTo>
                  <a:pt x="16" y="382"/>
                </a:lnTo>
                <a:lnTo>
                  <a:pt x="0" y="318"/>
                </a:lnTo>
                <a:lnTo>
                  <a:pt x="0" y="305"/>
                </a:lnTo>
                <a:lnTo>
                  <a:pt x="6" y="296"/>
                </a:lnTo>
                <a:lnTo>
                  <a:pt x="16" y="289"/>
                </a:lnTo>
                <a:lnTo>
                  <a:pt x="47" y="269"/>
                </a:lnTo>
                <a:lnTo>
                  <a:pt x="52" y="265"/>
                </a:lnTo>
                <a:lnTo>
                  <a:pt x="56" y="262"/>
                </a:lnTo>
                <a:lnTo>
                  <a:pt x="59" y="258"/>
                </a:lnTo>
                <a:lnTo>
                  <a:pt x="62" y="248"/>
                </a:lnTo>
                <a:lnTo>
                  <a:pt x="60" y="237"/>
                </a:lnTo>
                <a:lnTo>
                  <a:pt x="55" y="227"/>
                </a:lnTo>
                <a:lnTo>
                  <a:pt x="55" y="227"/>
                </a:lnTo>
                <a:lnTo>
                  <a:pt x="28" y="198"/>
                </a:lnTo>
                <a:lnTo>
                  <a:pt x="21" y="188"/>
                </a:lnTo>
                <a:lnTo>
                  <a:pt x="17" y="177"/>
                </a:lnTo>
                <a:lnTo>
                  <a:pt x="20" y="167"/>
                </a:lnTo>
                <a:lnTo>
                  <a:pt x="54" y="109"/>
                </a:lnTo>
                <a:lnTo>
                  <a:pt x="60" y="102"/>
                </a:lnTo>
                <a:lnTo>
                  <a:pt x="67" y="99"/>
                </a:lnTo>
                <a:lnTo>
                  <a:pt x="77" y="99"/>
                </a:lnTo>
                <a:lnTo>
                  <a:pt x="85" y="101"/>
                </a:lnTo>
                <a:lnTo>
                  <a:pt x="121" y="109"/>
                </a:lnTo>
                <a:lnTo>
                  <a:pt x="128" y="110"/>
                </a:lnTo>
                <a:lnTo>
                  <a:pt x="132" y="110"/>
                </a:lnTo>
                <a:lnTo>
                  <a:pt x="137" y="109"/>
                </a:lnTo>
                <a:lnTo>
                  <a:pt x="147" y="105"/>
                </a:lnTo>
                <a:lnTo>
                  <a:pt x="153" y="95"/>
                </a:lnTo>
                <a:lnTo>
                  <a:pt x="156" y="86"/>
                </a:lnTo>
                <a:lnTo>
                  <a:pt x="156" y="84"/>
                </a:lnTo>
                <a:lnTo>
                  <a:pt x="159" y="45"/>
                </a:lnTo>
                <a:lnTo>
                  <a:pt x="159" y="35"/>
                </a:lnTo>
                <a:lnTo>
                  <a:pt x="162" y="26"/>
                </a:lnTo>
                <a:lnTo>
                  <a:pt x="167" y="21"/>
                </a:lnTo>
                <a:lnTo>
                  <a:pt x="175" y="17"/>
                </a:lnTo>
                <a:lnTo>
                  <a:pt x="24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pic>
        <p:nvPicPr>
          <p:cNvPr id="81" name="Graphic 80" descr="Workflow with solid fill">
            <a:extLst>
              <a:ext uri="{FF2B5EF4-FFF2-40B4-BE49-F238E27FC236}">
                <a16:creationId xmlns:a16="http://schemas.microsoft.com/office/drawing/2014/main" id="{81703ACE-DB88-F2BF-1C12-EB6147847E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51705" y="3886167"/>
            <a:ext cx="461265" cy="461265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EAAF8F65-9742-4752-2C82-900587E3068F}"/>
              </a:ext>
            </a:extLst>
          </p:cNvPr>
          <p:cNvSpPr txBox="1"/>
          <p:nvPr/>
        </p:nvSpPr>
        <p:spPr>
          <a:xfrm>
            <a:off x="4887911" y="1254247"/>
            <a:ext cx="437940" cy="6364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36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ＭＳ Ｐゴシック" charset="0"/>
              </a:rPr>
              <a:t>?</a:t>
            </a:r>
          </a:p>
        </p:txBody>
      </p:sp>
      <p:sp>
        <p:nvSpPr>
          <p:cNvPr id="83" name="Freeform 1236">
            <a:extLst>
              <a:ext uri="{FF2B5EF4-FFF2-40B4-BE49-F238E27FC236}">
                <a16:creationId xmlns:a16="http://schemas.microsoft.com/office/drawing/2014/main" id="{B2BA8B82-41C9-5B8C-0AC4-1D1E9335C1AF}"/>
              </a:ext>
            </a:extLst>
          </p:cNvPr>
          <p:cNvSpPr/>
          <p:nvPr/>
        </p:nvSpPr>
        <p:spPr>
          <a:xfrm>
            <a:off x="5677368" y="3243050"/>
            <a:ext cx="414729" cy="414729"/>
          </a:xfrm>
          <a:custGeom>
            <a:avLst/>
            <a:gdLst>
              <a:gd name="connsiteX0" fmla="*/ 1030221 w 2060444"/>
              <a:gd name="connsiteY0" fmla="*/ 177464 h 2060444"/>
              <a:gd name="connsiteX1" fmla="*/ 177464 w 2060444"/>
              <a:gd name="connsiteY1" fmla="*/ 1030221 h 2060444"/>
              <a:gd name="connsiteX2" fmla="*/ 1030221 w 2060444"/>
              <a:gd name="connsiteY2" fmla="*/ 1882978 h 2060444"/>
              <a:gd name="connsiteX3" fmla="*/ 1882978 w 2060444"/>
              <a:gd name="connsiteY3" fmla="*/ 1030221 h 2060444"/>
              <a:gd name="connsiteX4" fmla="*/ 1030221 w 2060444"/>
              <a:gd name="connsiteY4" fmla="*/ 177464 h 2060444"/>
              <a:gd name="connsiteX5" fmla="*/ 1030222 w 2060444"/>
              <a:gd name="connsiteY5" fmla="*/ 0 h 2060444"/>
              <a:gd name="connsiteX6" fmla="*/ 2060444 w 2060444"/>
              <a:gd name="connsiteY6" fmla="*/ 1030222 h 2060444"/>
              <a:gd name="connsiteX7" fmla="*/ 1030222 w 2060444"/>
              <a:gd name="connsiteY7" fmla="*/ 2060444 h 2060444"/>
              <a:gd name="connsiteX8" fmla="*/ 0 w 2060444"/>
              <a:gd name="connsiteY8" fmla="*/ 1030222 h 2060444"/>
              <a:gd name="connsiteX9" fmla="*/ 1030222 w 2060444"/>
              <a:gd name="connsiteY9" fmla="*/ 0 h 2060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60444" h="2060444">
                <a:moveTo>
                  <a:pt x="1030221" y="177464"/>
                </a:moveTo>
                <a:cubicBezTo>
                  <a:pt x="559256" y="177464"/>
                  <a:pt x="177464" y="559256"/>
                  <a:pt x="177464" y="1030221"/>
                </a:cubicBezTo>
                <a:cubicBezTo>
                  <a:pt x="177464" y="1501186"/>
                  <a:pt x="559256" y="1882978"/>
                  <a:pt x="1030221" y="1882978"/>
                </a:cubicBezTo>
                <a:cubicBezTo>
                  <a:pt x="1501186" y="1882978"/>
                  <a:pt x="1882978" y="1501186"/>
                  <a:pt x="1882978" y="1030221"/>
                </a:cubicBezTo>
                <a:cubicBezTo>
                  <a:pt x="1882978" y="559256"/>
                  <a:pt x="1501186" y="177464"/>
                  <a:pt x="1030221" y="177464"/>
                </a:cubicBezTo>
                <a:close/>
                <a:moveTo>
                  <a:pt x="1030222" y="0"/>
                </a:moveTo>
                <a:cubicBezTo>
                  <a:pt x="1599198" y="0"/>
                  <a:pt x="2060444" y="461246"/>
                  <a:pt x="2060444" y="1030222"/>
                </a:cubicBezTo>
                <a:cubicBezTo>
                  <a:pt x="2060444" y="1599198"/>
                  <a:pt x="1599198" y="2060444"/>
                  <a:pt x="1030222" y="2060444"/>
                </a:cubicBezTo>
                <a:cubicBezTo>
                  <a:pt x="461246" y="2060444"/>
                  <a:pt x="0" y="1599198"/>
                  <a:pt x="0" y="1030222"/>
                </a:cubicBezTo>
                <a:cubicBezTo>
                  <a:pt x="0" y="461246"/>
                  <a:pt x="461246" y="0"/>
                  <a:pt x="103022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4" name="Freeform 1237">
            <a:extLst>
              <a:ext uri="{FF2B5EF4-FFF2-40B4-BE49-F238E27FC236}">
                <a16:creationId xmlns:a16="http://schemas.microsoft.com/office/drawing/2014/main" id="{F02979EC-55A1-6358-57E4-6CA76C738B9F}"/>
              </a:ext>
            </a:extLst>
          </p:cNvPr>
          <p:cNvSpPr/>
          <p:nvPr/>
        </p:nvSpPr>
        <p:spPr>
          <a:xfrm>
            <a:off x="5758646" y="3324328"/>
            <a:ext cx="252172" cy="252172"/>
          </a:xfrm>
          <a:custGeom>
            <a:avLst/>
            <a:gdLst>
              <a:gd name="connsiteX0" fmla="*/ 626416 w 1252834"/>
              <a:gd name="connsiteY0" fmla="*/ 161662 h 1252834"/>
              <a:gd name="connsiteX1" fmla="*/ 161662 w 1252834"/>
              <a:gd name="connsiteY1" fmla="*/ 626416 h 1252834"/>
              <a:gd name="connsiteX2" fmla="*/ 626416 w 1252834"/>
              <a:gd name="connsiteY2" fmla="*/ 1091170 h 1252834"/>
              <a:gd name="connsiteX3" fmla="*/ 1091170 w 1252834"/>
              <a:gd name="connsiteY3" fmla="*/ 626416 h 1252834"/>
              <a:gd name="connsiteX4" fmla="*/ 626416 w 1252834"/>
              <a:gd name="connsiteY4" fmla="*/ 161662 h 1252834"/>
              <a:gd name="connsiteX5" fmla="*/ 626417 w 1252834"/>
              <a:gd name="connsiteY5" fmla="*/ 0 h 1252834"/>
              <a:gd name="connsiteX6" fmla="*/ 1252834 w 1252834"/>
              <a:gd name="connsiteY6" fmla="*/ 626417 h 1252834"/>
              <a:gd name="connsiteX7" fmla="*/ 626417 w 1252834"/>
              <a:gd name="connsiteY7" fmla="*/ 1252834 h 1252834"/>
              <a:gd name="connsiteX8" fmla="*/ 0 w 1252834"/>
              <a:gd name="connsiteY8" fmla="*/ 626417 h 1252834"/>
              <a:gd name="connsiteX9" fmla="*/ 626417 w 1252834"/>
              <a:gd name="connsiteY9" fmla="*/ 0 h 1252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52834" h="1252834">
                <a:moveTo>
                  <a:pt x="626416" y="161662"/>
                </a:moveTo>
                <a:cubicBezTo>
                  <a:pt x="369739" y="161662"/>
                  <a:pt x="161662" y="369739"/>
                  <a:pt x="161662" y="626416"/>
                </a:cubicBezTo>
                <a:cubicBezTo>
                  <a:pt x="161662" y="883093"/>
                  <a:pt x="369739" y="1091170"/>
                  <a:pt x="626416" y="1091170"/>
                </a:cubicBezTo>
                <a:cubicBezTo>
                  <a:pt x="883093" y="1091170"/>
                  <a:pt x="1091170" y="883093"/>
                  <a:pt x="1091170" y="626416"/>
                </a:cubicBezTo>
                <a:cubicBezTo>
                  <a:pt x="1091170" y="369739"/>
                  <a:pt x="883093" y="161662"/>
                  <a:pt x="626416" y="161662"/>
                </a:cubicBezTo>
                <a:close/>
                <a:moveTo>
                  <a:pt x="626417" y="0"/>
                </a:moveTo>
                <a:cubicBezTo>
                  <a:pt x="972378" y="0"/>
                  <a:pt x="1252834" y="280456"/>
                  <a:pt x="1252834" y="626417"/>
                </a:cubicBezTo>
                <a:cubicBezTo>
                  <a:pt x="1252834" y="972378"/>
                  <a:pt x="972378" y="1252834"/>
                  <a:pt x="626417" y="1252834"/>
                </a:cubicBezTo>
                <a:cubicBezTo>
                  <a:pt x="280456" y="1252834"/>
                  <a:pt x="0" y="972378"/>
                  <a:pt x="0" y="626417"/>
                </a:cubicBezTo>
                <a:cubicBezTo>
                  <a:pt x="0" y="280456"/>
                  <a:pt x="280456" y="0"/>
                  <a:pt x="62641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B58F7611-014E-6600-F9F9-9FE6943E12B7}"/>
              </a:ext>
            </a:extLst>
          </p:cNvPr>
          <p:cNvSpPr/>
          <p:nvPr/>
        </p:nvSpPr>
        <p:spPr>
          <a:xfrm>
            <a:off x="5834754" y="3400436"/>
            <a:ext cx="99957" cy="9995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9EAE095F-F24F-5DEE-6284-CEF0D97A92C6}"/>
              </a:ext>
            </a:extLst>
          </p:cNvPr>
          <p:cNvSpPr txBox="1"/>
          <p:nvPr/>
        </p:nvSpPr>
        <p:spPr>
          <a:xfrm>
            <a:off x="5531654" y="1003184"/>
            <a:ext cx="167157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Identify decisions to be made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26AA4D41-4CCD-B57C-D29A-3F2F49A1B515}"/>
              </a:ext>
            </a:extLst>
          </p:cNvPr>
          <p:cNvSpPr/>
          <p:nvPr/>
        </p:nvSpPr>
        <p:spPr>
          <a:xfrm>
            <a:off x="5531654" y="787855"/>
            <a:ext cx="14165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sk &amp; Defin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D0939EB3-41CF-B4F0-40BF-290A40ADD87D}"/>
              </a:ext>
            </a:extLst>
          </p:cNvPr>
          <p:cNvSpPr txBox="1"/>
          <p:nvPr/>
        </p:nvSpPr>
        <p:spPr>
          <a:xfrm>
            <a:off x="6365171" y="2103147"/>
            <a:ext cx="167157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Understand and acquire relevant data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D8AD1DA-679C-53B3-CDCA-6D5AAC0E567A}"/>
              </a:ext>
            </a:extLst>
          </p:cNvPr>
          <p:cNvSpPr/>
          <p:nvPr/>
        </p:nvSpPr>
        <p:spPr>
          <a:xfrm>
            <a:off x="6355546" y="1868568"/>
            <a:ext cx="21050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apture &amp; Acquir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4011837-A760-E4F6-DD5C-168F4991ED3C}"/>
              </a:ext>
            </a:extLst>
          </p:cNvPr>
          <p:cNvSpPr txBox="1"/>
          <p:nvPr/>
        </p:nvSpPr>
        <p:spPr>
          <a:xfrm>
            <a:off x="6458396" y="3461571"/>
            <a:ext cx="1671577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Transform data into insight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0E3E0D99-025E-AD82-4872-AA2897F5A99B}"/>
              </a:ext>
            </a:extLst>
          </p:cNvPr>
          <p:cNvSpPr/>
          <p:nvPr/>
        </p:nvSpPr>
        <p:spPr>
          <a:xfrm>
            <a:off x="6458396" y="3246243"/>
            <a:ext cx="215220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nalyze &amp; Transform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89F051F-674B-777D-3D18-4E54B2953D64}"/>
              </a:ext>
            </a:extLst>
          </p:cNvPr>
          <p:cNvSpPr txBox="1"/>
          <p:nvPr/>
        </p:nvSpPr>
        <p:spPr>
          <a:xfrm>
            <a:off x="5240527" y="4654852"/>
            <a:ext cx="1651739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Validate the insight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B9A82A5D-D7E5-87AA-3978-69051ECBF828}"/>
              </a:ext>
            </a:extLst>
          </p:cNvPr>
          <p:cNvSpPr/>
          <p:nvPr/>
        </p:nvSpPr>
        <p:spPr>
          <a:xfrm>
            <a:off x="5422539" y="4439525"/>
            <a:ext cx="18802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Validate &amp; Verify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2E59D29-A877-E874-B702-F5FE606E9A74}"/>
              </a:ext>
            </a:extLst>
          </p:cNvPr>
          <p:cNvSpPr txBox="1"/>
          <p:nvPr/>
        </p:nvSpPr>
        <p:spPr>
          <a:xfrm>
            <a:off x="1186658" y="3689327"/>
            <a:ext cx="167157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ommunicate decisions and start change management effort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70E9B637-A051-A7E6-99BF-32C18A7B7A14}"/>
              </a:ext>
            </a:extLst>
          </p:cNvPr>
          <p:cNvSpPr/>
          <p:nvPr/>
        </p:nvSpPr>
        <p:spPr>
          <a:xfrm>
            <a:off x="702644" y="3473999"/>
            <a:ext cx="21652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nnounce &amp; Marke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8A8C22A-ED43-C526-66B7-41FD41A35212}"/>
              </a:ext>
            </a:extLst>
          </p:cNvPr>
          <p:cNvSpPr txBox="1"/>
          <p:nvPr/>
        </p:nvSpPr>
        <p:spPr>
          <a:xfrm>
            <a:off x="2002479" y="1007453"/>
            <a:ext cx="167157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valuating decisions made. Monitor and adjust as needed. 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FD6B49ED-2DDC-E24A-75A9-6AACB3033FE0}"/>
              </a:ext>
            </a:extLst>
          </p:cNvPr>
          <p:cNvSpPr/>
          <p:nvPr/>
        </p:nvSpPr>
        <p:spPr>
          <a:xfrm>
            <a:off x="1717033" y="792125"/>
            <a:ext cx="196664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Monitor &amp; Evaluat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5D8CB582-99CD-2555-4C41-C71D32B2F999}"/>
              </a:ext>
            </a:extLst>
          </p:cNvPr>
          <p:cNvSpPr txBox="1"/>
          <p:nvPr/>
        </p:nvSpPr>
        <p:spPr>
          <a:xfrm>
            <a:off x="2053717" y="4675996"/>
            <a:ext cx="1671577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Transform insights into decisions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A23A65A8-BFF5-A393-6828-2F1C0D342CDE}"/>
              </a:ext>
            </a:extLst>
          </p:cNvPr>
          <p:cNvSpPr/>
          <p:nvPr/>
        </p:nvSpPr>
        <p:spPr>
          <a:xfrm>
            <a:off x="1841236" y="4459097"/>
            <a:ext cx="189082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Resolve &amp; Decid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E6B3646-F220-F0AA-37A0-AACCABFF8872}"/>
              </a:ext>
            </a:extLst>
          </p:cNvPr>
          <p:cNvSpPr txBox="1"/>
          <p:nvPr/>
        </p:nvSpPr>
        <p:spPr>
          <a:xfrm>
            <a:off x="1022598" y="2291318"/>
            <a:ext cx="167157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tart change management efforts</a:t>
            </a: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3E4C076C-253B-4AA2-AE23-C1A7DAD1A2F7}"/>
              </a:ext>
            </a:extLst>
          </p:cNvPr>
          <p:cNvSpPr/>
          <p:nvPr/>
        </p:nvSpPr>
        <p:spPr>
          <a:xfrm>
            <a:off x="856649" y="2075990"/>
            <a:ext cx="18375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rtl="0" eaLnBrk="1" fontAlgn="b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Implement &amp; Ac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pic>
        <p:nvPicPr>
          <p:cNvPr id="111" name="Graphic 110" descr="Clapper board with solid fill">
            <a:extLst>
              <a:ext uri="{FF2B5EF4-FFF2-40B4-BE49-F238E27FC236}">
                <a16:creationId xmlns:a16="http://schemas.microsoft.com/office/drawing/2014/main" id="{DFCF23FE-AEA7-7289-D863-88B0488D0FD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62159" y="2056733"/>
            <a:ext cx="419713" cy="419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186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B2B2B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787A7E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  <p:bldP spid="67" grpId="0" animBg="1"/>
      <p:bldP spid="64" grpId="0" animBg="1"/>
      <p:bldP spid="65" grpId="0" animBg="1"/>
      <p:bldP spid="60" grpId="0" animBg="1"/>
      <p:bldP spid="61" grpId="0" animBg="1"/>
      <p:bldP spid="58" grpId="0" animBg="1"/>
      <p:bldP spid="59" grpId="0" animBg="1"/>
      <p:bldP spid="52" grpId="0" animBg="1"/>
      <p:bldP spid="53" grpId="0" animBg="1"/>
      <p:bldP spid="50" grpId="0" animBg="1"/>
      <p:bldP spid="51" grpId="0" animBg="1"/>
      <p:bldP spid="29" grpId="0" animBg="1"/>
      <p:bldP spid="30" grpId="0" animBg="1"/>
      <p:bldP spid="27" grpId="0" animBg="1"/>
      <p:bldP spid="28" grpId="0" animBg="1"/>
      <p:bldP spid="68" grpId="0" animBg="1"/>
      <p:bldP spid="69" grpId="0" animBg="1"/>
      <p:bldP spid="71" grpId="0" animBg="1"/>
      <p:bldP spid="72" grpId="0" animBg="1"/>
      <p:bldP spid="74" grpId="0" animBg="1"/>
      <p:bldP spid="76" grpId="0" animBg="1"/>
      <p:bldP spid="77" grpId="0" animBg="1"/>
      <p:bldP spid="78" grpId="0" animBg="1"/>
      <p:bldP spid="79" grpId="0" animBg="1"/>
      <p:bldP spid="80" grpId="0" animBg="1"/>
      <p:bldP spid="82" grpId="0"/>
      <p:bldP spid="83" grpId="0" animBg="1"/>
      <p:bldP spid="84" grpId="0" animBg="1"/>
      <p:bldP spid="85" grpId="0" animBg="1"/>
      <p:bldP spid="87" grpId="0"/>
      <p:bldP spid="88" grpId="0"/>
      <p:bldP spid="90" grpId="0"/>
      <p:bldP spid="91" grpId="0"/>
      <p:bldP spid="93" grpId="0"/>
      <p:bldP spid="94" grpId="0"/>
      <p:bldP spid="96" grpId="0"/>
      <p:bldP spid="97" grpId="0"/>
      <p:bldP spid="99" grpId="0"/>
      <p:bldP spid="100" grpId="0"/>
      <p:bldP spid="102" grpId="0"/>
      <p:bldP spid="103" grpId="0"/>
      <p:bldP spid="105" grpId="0"/>
      <p:bldP spid="106" grpId="0"/>
      <p:bldP spid="108" grpId="0"/>
      <p:bldP spid="10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2A8A33-02B6-77AF-0356-66CAE088C1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7FA5C73-6079-1D36-AD5B-B1E5087D7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3444"/>
            <a:ext cx="8106305" cy="513211"/>
          </a:xfrm>
        </p:spPr>
        <p:txBody>
          <a:bodyPr/>
          <a:lstStyle/>
          <a:p>
            <a:r>
              <a:rPr lang="en-US" sz="2100"/>
              <a:t>What is Data?</a:t>
            </a: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F9BC689D-9AF6-1C8F-45F1-B2FE497C8CEC}"/>
              </a:ext>
            </a:extLst>
          </p:cNvPr>
          <p:cNvGrpSpPr/>
          <p:nvPr/>
        </p:nvGrpSpPr>
        <p:grpSpPr>
          <a:xfrm>
            <a:off x="3341921" y="844597"/>
            <a:ext cx="3141596" cy="696124"/>
            <a:chOff x="4726107" y="1192798"/>
            <a:chExt cx="3696174" cy="811740"/>
          </a:xfrm>
        </p:grpSpPr>
        <p:sp>
          <p:nvSpPr>
            <p:cNvPr id="238" name="Rectangle 14">
              <a:extLst>
                <a:ext uri="{FF2B5EF4-FFF2-40B4-BE49-F238E27FC236}">
                  <a16:creationId xmlns:a16="http://schemas.microsoft.com/office/drawing/2014/main" id="{C4FA3476-5B80-0842-EF46-960318375294}"/>
                </a:ext>
              </a:extLst>
            </p:cNvPr>
            <p:cNvSpPr/>
            <p:nvPr/>
          </p:nvSpPr>
          <p:spPr>
            <a:xfrm>
              <a:off x="4726107" y="1192798"/>
              <a:ext cx="3207553" cy="811740"/>
            </a:xfrm>
            <a:custGeom>
              <a:avLst/>
              <a:gdLst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3101339 w 3101339"/>
                <a:gd name="connsiteY2" fmla="*/ 784860 h 784860"/>
                <a:gd name="connsiteX3" fmla="*/ 0 w 3101339"/>
                <a:gd name="connsiteY3" fmla="*/ 784860 h 784860"/>
                <a:gd name="connsiteX4" fmla="*/ 0 w 3101339"/>
                <a:gd name="connsiteY4" fmla="*/ 0 h 784860"/>
                <a:gd name="connsiteX0" fmla="*/ 0 w 3101340"/>
                <a:gd name="connsiteY0" fmla="*/ 0 h 784860"/>
                <a:gd name="connsiteX1" fmla="*/ 3101339 w 3101340"/>
                <a:gd name="connsiteY1" fmla="*/ 0 h 784860"/>
                <a:gd name="connsiteX2" fmla="*/ 3101340 w 3101340"/>
                <a:gd name="connsiteY2" fmla="*/ 403859 h 784860"/>
                <a:gd name="connsiteX3" fmla="*/ 3101339 w 3101340"/>
                <a:gd name="connsiteY3" fmla="*/ 784860 h 784860"/>
                <a:gd name="connsiteX4" fmla="*/ 0 w 3101340"/>
                <a:gd name="connsiteY4" fmla="*/ 784860 h 784860"/>
                <a:gd name="connsiteX5" fmla="*/ 0 w 3101340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  <a:gd name="connsiteX0" fmla="*/ 0 w 3101339"/>
                <a:gd name="connsiteY0" fmla="*/ 0 h 784860"/>
                <a:gd name="connsiteX1" fmla="*/ 3101339 w 3101339"/>
                <a:gd name="connsiteY1" fmla="*/ 0 h 784860"/>
                <a:gd name="connsiteX2" fmla="*/ 2827020 w 3101339"/>
                <a:gd name="connsiteY2" fmla="*/ 411479 h 784860"/>
                <a:gd name="connsiteX3" fmla="*/ 3101339 w 3101339"/>
                <a:gd name="connsiteY3" fmla="*/ 784860 h 784860"/>
                <a:gd name="connsiteX4" fmla="*/ 0 w 3101339"/>
                <a:gd name="connsiteY4" fmla="*/ 784860 h 784860"/>
                <a:gd name="connsiteX5" fmla="*/ 0 w 3101339"/>
                <a:gd name="connsiteY5" fmla="*/ 0 h 78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01339" h="784860">
                  <a:moveTo>
                    <a:pt x="0" y="0"/>
                  </a:moveTo>
                  <a:lnTo>
                    <a:pt x="3101339" y="0"/>
                  </a:lnTo>
                  <a:cubicBezTo>
                    <a:pt x="2987039" y="165100"/>
                    <a:pt x="2971800" y="208279"/>
                    <a:pt x="2827020" y="411479"/>
                  </a:cubicBezTo>
                  <a:cubicBezTo>
                    <a:pt x="2948940" y="568959"/>
                    <a:pt x="2987039" y="635000"/>
                    <a:pt x="3101339" y="784860"/>
                  </a:cubicBezTo>
                  <a:lnTo>
                    <a:pt x="0" y="7848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solidFill>
                <a:schemeClr val="accent6">
                  <a:lumMod val="50000"/>
                </a:schemeClr>
              </a:solidFill>
            </a:ln>
            <a:effectLst>
              <a:outerShdw blurRad="50800" dist="25400" dir="16200000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0" name="Oval 239">
              <a:extLst>
                <a:ext uri="{FF2B5EF4-FFF2-40B4-BE49-F238E27FC236}">
                  <a16:creationId xmlns:a16="http://schemas.microsoft.com/office/drawing/2014/main" id="{A9B3F041-FFBA-00A3-10FB-999CBC664D49}"/>
                </a:ext>
              </a:extLst>
            </p:cNvPr>
            <p:cNvSpPr/>
            <p:nvPr/>
          </p:nvSpPr>
          <p:spPr>
            <a:xfrm>
              <a:off x="7854851" y="1314952"/>
              <a:ext cx="567430" cy="56743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6"/>
              </a:solidFill>
            </a:ln>
            <a:effectLst>
              <a:outerShdw blurRad="50800" dist="38100" dir="8100000" sx="101000" sy="101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542865CC-5FDD-16D1-BB55-9DC54A09314A}"/>
              </a:ext>
            </a:extLst>
          </p:cNvPr>
          <p:cNvGrpSpPr/>
          <p:nvPr/>
        </p:nvGrpSpPr>
        <p:grpSpPr>
          <a:xfrm>
            <a:off x="3557676" y="1539412"/>
            <a:ext cx="3141596" cy="696124"/>
            <a:chOff x="4979949" y="2003012"/>
            <a:chExt cx="3696174" cy="811740"/>
          </a:xfrm>
        </p:grpSpPr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7AD5239F-C18F-D8DE-B77F-7B59822C414A}"/>
                </a:ext>
              </a:extLst>
            </p:cNvPr>
            <p:cNvGrpSpPr/>
            <p:nvPr/>
          </p:nvGrpSpPr>
          <p:grpSpPr>
            <a:xfrm>
              <a:off x="4979949" y="2003012"/>
              <a:ext cx="3696174" cy="811740"/>
              <a:chOff x="4979949" y="2003012"/>
              <a:chExt cx="3696174" cy="811740"/>
            </a:xfrm>
          </p:grpSpPr>
          <p:sp>
            <p:nvSpPr>
              <p:cNvPr id="232" name="Rectangle 14">
                <a:extLst>
                  <a:ext uri="{FF2B5EF4-FFF2-40B4-BE49-F238E27FC236}">
                    <a16:creationId xmlns:a16="http://schemas.microsoft.com/office/drawing/2014/main" id="{A6CBF974-D59C-BD47-8E89-7290DB30CF5C}"/>
                  </a:ext>
                </a:extLst>
              </p:cNvPr>
              <p:cNvSpPr/>
              <p:nvPr/>
            </p:nvSpPr>
            <p:spPr>
              <a:xfrm>
                <a:off x="4979949" y="2003012"/>
                <a:ext cx="3207553" cy="811740"/>
              </a:xfrm>
              <a:custGeom>
                <a:avLst/>
                <a:gdLst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3101339 w 3101339"/>
                  <a:gd name="connsiteY2" fmla="*/ 784860 h 784860"/>
                  <a:gd name="connsiteX3" fmla="*/ 0 w 3101339"/>
                  <a:gd name="connsiteY3" fmla="*/ 784860 h 784860"/>
                  <a:gd name="connsiteX4" fmla="*/ 0 w 3101339"/>
                  <a:gd name="connsiteY4" fmla="*/ 0 h 784860"/>
                  <a:gd name="connsiteX0" fmla="*/ 0 w 3101340"/>
                  <a:gd name="connsiteY0" fmla="*/ 0 h 784860"/>
                  <a:gd name="connsiteX1" fmla="*/ 3101339 w 3101340"/>
                  <a:gd name="connsiteY1" fmla="*/ 0 h 784860"/>
                  <a:gd name="connsiteX2" fmla="*/ 3101340 w 3101340"/>
                  <a:gd name="connsiteY2" fmla="*/ 403859 h 784860"/>
                  <a:gd name="connsiteX3" fmla="*/ 3101339 w 3101340"/>
                  <a:gd name="connsiteY3" fmla="*/ 784860 h 784860"/>
                  <a:gd name="connsiteX4" fmla="*/ 0 w 3101340"/>
                  <a:gd name="connsiteY4" fmla="*/ 784860 h 784860"/>
                  <a:gd name="connsiteX5" fmla="*/ 0 w 3101340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1339" h="784860">
                    <a:moveTo>
                      <a:pt x="0" y="0"/>
                    </a:moveTo>
                    <a:lnTo>
                      <a:pt x="3101339" y="0"/>
                    </a:lnTo>
                    <a:cubicBezTo>
                      <a:pt x="2987039" y="165100"/>
                      <a:pt x="2971800" y="208279"/>
                      <a:pt x="2827020" y="411479"/>
                    </a:cubicBezTo>
                    <a:cubicBezTo>
                      <a:pt x="2948940" y="568959"/>
                      <a:pt x="2987039" y="635000"/>
                      <a:pt x="3101339" y="784860"/>
                    </a:cubicBezTo>
                    <a:lnTo>
                      <a:pt x="0" y="7848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solidFill>
                  <a:schemeClr val="accent4">
                    <a:lumMod val="50000"/>
                  </a:schemeClr>
                </a:solidFill>
              </a:ln>
              <a:effectLst>
                <a:outerShdw blurRad="50800" dist="25400" dir="16200000" rotWithShape="0">
                  <a:prstClr val="black">
                    <a:alpha val="2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4" name="Oval 233">
                <a:extLst>
                  <a:ext uri="{FF2B5EF4-FFF2-40B4-BE49-F238E27FC236}">
                    <a16:creationId xmlns:a16="http://schemas.microsoft.com/office/drawing/2014/main" id="{9FE8F329-D132-3C9F-22EA-D8C141577C80}"/>
                  </a:ext>
                </a:extLst>
              </p:cNvPr>
              <p:cNvSpPr/>
              <p:nvPr/>
            </p:nvSpPr>
            <p:spPr>
              <a:xfrm>
                <a:off x="8108693" y="2125166"/>
                <a:ext cx="567430" cy="56743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4"/>
                </a:solidFill>
              </a:ln>
              <a:effectLst>
                <a:outerShdw blurRad="50800" dist="38100" dir="8100000" sx="101000" sy="101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11665B0F-5280-6335-8F8B-D4ADAC366EA9}"/>
                </a:ext>
              </a:extLst>
            </p:cNvPr>
            <p:cNvSpPr/>
            <p:nvPr/>
          </p:nvSpPr>
          <p:spPr>
            <a:xfrm>
              <a:off x="5562761" y="2050753"/>
              <a:ext cx="2434779" cy="7536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ou understand all the context and why things are happening</a:t>
              </a: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1303D4EF-C10F-8C8B-65A5-8694C15CE067}"/>
              </a:ext>
            </a:extLst>
          </p:cNvPr>
          <p:cNvGrpSpPr/>
          <p:nvPr/>
        </p:nvGrpSpPr>
        <p:grpSpPr>
          <a:xfrm>
            <a:off x="3807779" y="2234228"/>
            <a:ext cx="3141596" cy="913614"/>
            <a:chOff x="5274202" y="2813226"/>
            <a:chExt cx="3696174" cy="1065352"/>
          </a:xfrm>
        </p:grpSpPr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B8464A0B-D03F-2F57-4034-C78384C1A1DF}"/>
                </a:ext>
              </a:extLst>
            </p:cNvPr>
            <p:cNvGrpSpPr/>
            <p:nvPr/>
          </p:nvGrpSpPr>
          <p:grpSpPr>
            <a:xfrm>
              <a:off x="5274202" y="2813226"/>
              <a:ext cx="3696174" cy="811740"/>
              <a:chOff x="5274202" y="2813226"/>
              <a:chExt cx="3696174" cy="811740"/>
            </a:xfrm>
          </p:grpSpPr>
          <p:sp>
            <p:nvSpPr>
              <p:cNvPr id="226" name="Rectangle 14">
                <a:extLst>
                  <a:ext uri="{FF2B5EF4-FFF2-40B4-BE49-F238E27FC236}">
                    <a16:creationId xmlns:a16="http://schemas.microsoft.com/office/drawing/2014/main" id="{0DDF1D10-FBE0-E346-1AF2-9D54F8C89A38}"/>
                  </a:ext>
                </a:extLst>
              </p:cNvPr>
              <p:cNvSpPr/>
              <p:nvPr/>
            </p:nvSpPr>
            <p:spPr>
              <a:xfrm>
                <a:off x="5274202" y="2813226"/>
                <a:ext cx="3207553" cy="811740"/>
              </a:xfrm>
              <a:custGeom>
                <a:avLst/>
                <a:gdLst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3101339 w 3101339"/>
                  <a:gd name="connsiteY2" fmla="*/ 784860 h 784860"/>
                  <a:gd name="connsiteX3" fmla="*/ 0 w 3101339"/>
                  <a:gd name="connsiteY3" fmla="*/ 784860 h 784860"/>
                  <a:gd name="connsiteX4" fmla="*/ 0 w 3101339"/>
                  <a:gd name="connsiteY4" fmla="*/ 0 h 784860"/>
                  <a:gd name="connsiteX0" fmla="*/ 0 w 3101340"/>
                  <a:gd name="connsiteY0" fmla="*/ 0 h 784860"/>
                  <a:gd name="connsiteX1" fmla="*/ 3101339 w 3101340"/>
                  <a:gd name="connsiteY1" fmla="*/ 0 h 784860"/>
                  <a:gd name="connsiteX2" fmla="*/ 3101340 w 3101340"/>
                  <a:gd name="connsiteY2" fmla="*/ 403859 h 784860"/>
                  <a:gd name="connsiteX3" fmla="*/ 3101339 w 3101340"/>
                  <a:gd name="connsiteY3" fmla="*/ 784860 h 784860"/>
                  <a:gd name="connsiteX4" fmla="*/ 0 w 3101340"/>
                  <a:gd name="connsiteY4" fmla="*/ 784860 h 784860"/>
                  <a:gd name="connsiteX5" fmla="*/ 0 w 3101340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1339" h="784860">
                    <a:moveTo>
                      <a:pt x="0" y="0"/>
                    </a:moveTo>
                    <a:lnTo>
                      <a:pt x="3101339" y="0"/>
                    </a:lnTo>
                    <a:cubicBezTo>
                      <a:pt x="2987039" y="165100"/>
                      <a:pt x="2971800" y="208279"/>
                      <a:pt x="2827020" y="411479"/>
                    </a:cubicBezTo>
                    <a:cubicBezTo>
                      <a:pt x="2948940" y="568959"/>
                      <a:pt x="2987039" y="635000"/>
                      <a:pt x="3101339" y="784860"/>
                    </a:cubicBezTo>
                    <a:lnTo>
                      <a:pt x="0" y="7848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accent2">
                    <a:lumMod val="50000"/>
                  </a:schemeClr>
                </a:solidFill>
              </a:ln>
              <a:effectLst>
                <a:outerShdw blurRad="50800" dist="25400" dir="16200000" rotWithShape="0">
                  <a:prstClr val="black">
                    <a:alpha val="2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F7B6BD5E-8FAD-6DB8-427D-0749EBC5CDD1}"/>
                  </a:ext>
                </a:extLst>
              </p:cNvPr>
              <p:cNvSpPr/>
              <p:nvPr/>
            </p:nvSpPr>
            <p:spPr>
              <a:xfrm>
                <a:off x="8402946" y="2935380"/>
                <a:ext cx="567430" cy="56743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2"/>
                </a:solidFill>
              </a:ln>
              <a:effectLst>
                <a:outerShdw blurRad="50800" dist="38100" dir="8100000" sx="101000" sy="101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77297F4C-2A55-4135-CD49-1F3436A89874}"/>
                </a:ext>
              </a:extLst>
            </p:cNvPr>
            <p:cNvSpPr/>
            <p:nvPr/>
          </p:nvSpPr>
          <p:spPr>
            <a:xfrm>
              <a:off x="5858406" y="2837787"/>
              <a:ext cx="2408088" cy="10407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ou recognize the value in the information and apply it to your personal beliefs</a:t>
              </a:r>
            </a:p>
            <a:p>
              <a:endParaRPr lang="en-US" sz="16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D1FC449B-D67C-D3CF-2E14-07979E11AA0E}"/>
              </a:ext>
            </a:extLst>
          </p:cNvPr>
          <p:cNvGrpSpPr/>
          <p:nvPr/>
        </p:nvGrpSpPr>
        <p:grpSpPr>
          <a:xfrm>
            <a:off x="4043578" y="2929043"/>
            <a:ext cx="3141596" cy="696124"/>
            <a:chOff x="5551626" y="3623440"/>
            <a:chExt cx="3696174" cy="811740"/>
          </a:xfrm>
        </p:grpSpPr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CE72C3EC-EC5C-4139-9715-05D8458DAB20}"/>
                </a:ext>
              </a:extLst>
            </p:cNvPr>
            <p:cNvGrpSpPr/>
            <p:nvPr/>
          </p:nvGrpSpPr>
          <p:grpSpPr>
            <a:xfrm>
              <a:off x="5551626" y="3623440"/>
              <a:ext cx="3696174" cy="811740"/>
              <a:chOff x="5551626" y="3623440"/>
              <a:chExt cx="3696174" cy="811740"/>
            </a:xfrm>
          </p:grpSpPr>
          <p:sp>
            <p:nvSpPr>
              <p:cNvPr id="220" name="Rectangle 14">
                <a:extLst>
                  <a:ext uri="{FF2B5EF4-FFF2-40B4-BE49-F238E27FC236}">
                    <a16:creationId xmlns:a16="http://schemas.microsoft.com/office/drawing/2014/main" id="{E1358C5A-5B93-19AD-7FFD-A2F973EDA8BD}"/>
                  </a:ext>
                </a:extLst>
              </p:cNvPr>
              <p:cNvSpPr/>
              <p:nvPr/>
            </p:nvSpPr>
            <p:spPr>
              <a:xfrm>
                <a:off x="5551626" y="3623440"/>
                <a:ext cx="3207553" cy="811740"/>
              </a:xfrm>
              <a:custGeom>
                <a:avLst/>
                <a:gdLst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3101339 w 3101339"/>
                  <a:gd name="connsiteY2" fmla="*/ 784860 h 784860"/>
                  <a:gd name="connsiteX3" fmla="*/ 0 w 3101339"/>
                  <a:gd name="connsiteY3" fmla="*/ 784860 h 784860"/>
                  <a:gd name="connsiteX4" fmla="*/ 0 w 3101339"/>
                  <a:gd name="connsiteY4" fmla="*/ 0 h 784860"/>
                  <a:gd name="connsiteX0" fmla="*/ 0 w 3101340"/>
                  <a:gd name="connsiteY0" fmla="*/ 0 h 784860"/>
                  <a:gd name="connsiteX1" fmla="*/ 3101339 w 3101340"/>
                  <a:gd name="connsiteY1" fmla="*/ 0 h 784860"/>
                  <a:gd name="connsiteX2" fmla="*/ 3101340 w 3101340"/>
                  <a:gd name="connsiteY2" fmla="*/ 403859 h 784860"/>
                  <a:gd name="connsiteX3" fmla="*/ 3101339 w 3101340"/>
                  <a:gd name="connsiteY3" fmla="*/ 784860 h 784860"/>
                  <a:gd name="connsiteX4" fmla="*/ 0 w 3101340"/>
                  <a:gd name="connsiteY4" fmla="*/ 784860 h 784860"/>
                  <a:gd name="connsiteX5" fmla="*/ 0 w 3101340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1339" h="784860">
                    <a:moveTo>
                      <a:pt x="0" y="0"/>
                    </a:moveTo>
                    <a:lnTo>
                      <a:pt x="3101339" y="0"/>
                    </a:lnTo>
                    <a:cubicBezTo>
                      <a:pt x="2987039" y="165100"/>
                      <a:pt x="2971800" y="208279"/>
                      <a:pt x="2827020" y="411479"/>
                    </a:cubicBezTo>
                    <a:cubicBezTo>
                      <a:pt x="2948940" y="568959"/>
                      <a:pt x="2987039" y="635000"/>
                      <a:pt x="3101339" y="784860"/>
                    </a:cubicBezTo>
                    <a:lnTo>
                      <a:pt x="0" y="7848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solidFill>
                  <a:schemeClr val="accent1">
                    <a:lumMod val="50000"/>
                  </a:schemeClr>
                </a:solidFill>
              </a:ln>
              <a:effectLst>
                <a:outerShdw blurRad="50800" dist="25400" dir="16200000" rotWithShape="0">
                  <a:prstClr val="black">
                    <a:alpha val="2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D66CBBB2-7E7C-1D60-7251-BA0B4A9373E4}"/>
                  </a:ext>
                </a:extLst>
              </p:cNvPr>
              <p:cNvSpPr/>
              <p:nvPr/>
            </p:nvSpPr>
            <p:spPr>
              <a:xfrm>
                <a:off x="8680370" y="3745594"/>
                <a:ext cx="567430" cy="56743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1"/>
                </a:solidFill>
              </a:ln>
              <a:effectLst>
                <a:outerShdw blurRad="50800" dist="38100" dir="8100000" sx="101000" sy="101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C4ABE14A-2D0D-B7CC-6EA4-A788D67BC6A8}"/>
                </a:ext>
              </a:extLst>
            </p:cNvPr>
            <p:cNvSpPr/>
            <p:nvPr/>
          </p:nvSpPr>
          <p:spPr>
            <a:xfrm>
              <a:off x="6317761" y="3671182"/>
              <a:ext cx="2322931" cy="7536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ou start to connect data points and potentially identify patterns</a:t>
              </a:r>
            </a:p>
          </p:txBody>
        </p:sp>
      </p:grpSp>
      <p:grpSp>
        <p:nvGrpSpPr>
          <p:cNvPr id="211" name="Group 210">
            <a:extLst>
              <a:ext uri="{FF2B5EF4-FFF2-40B4-BE49-F238E27FC236}">
                <a16:creationId xmlns:a16="http://schemas.microsoft.com/office/drawing/2014/main" id="{AC26324B-BE6C-FA27-646D-731C7D8B189E}"/>
              </a:ext>
            </a:extLst>
          </p:cNvPr>
          <p:cNvGrpSpPr/>
          <p:nvPr/>
        </p:nvGrpSpPr>
        <p:grpSpPr>
          <a:xfrm>
            <a:off x="4287497" y="3623859"/>
            <a:ext cx="3141596" cy="788585"/>
            <a:chOff x="5838603" y="4433655"/>
            <a:chExt cx="3696174" cy="919557"/>
          </a:xfrm>
        </p:grpSpPr>
        <p:grpSp>
          <p:nvGrpSpPr>
            <p:cNvPr id="212" name="Group 211">
              <a:extLst>
                <a:ext uri="{FF2B5EF4-FFF2-40B4-BE49-F238E27FC236}">
                  <a16:creationId xmlns:a16="http://schemas.microsoft.com/office/drawing/2014/main" id="{4F044AF3-C59B-61E5-0D70-AB436B035416}"/>
                </a:ext>
              </a:extLst>
            </p:cNvPr>
            <p:cNvGrpSpPr/>
            <p:nvPr/>
          </p:nvGrpSpPr>
          <p:grpSpPr>
            <a:xfrm>
              <a:off x="5838603" y="4433655"/>
              <a:ext cx="3696174" cy="811740"/>
              <a:chOff x="5838603" y="4433655"/>
              <a:chExt cx="3696174" cy="811740"/>
            </a:xfrm>
          </p:grpSpPr>
          <p:sp>
            <p:nvSpPr>
              <p:cNvPr id="214" name="Rectangle 14">
                <a:extLst>
                  <a:ext uri="{FF2B5EF4-FFF2-40B4-BE49-F238E27FC236}">
                    <a16:creationId xmlns:a16="http://schemas.microsoft.com/office/drawing/2014/main" id="{D9CC7AFD-AFA2-BCEC-B9AB-4578E7F7CA51}"/>
                  </a:ext>
                </a:extLst>
              </p:cNvPr>
              <p:cNvSpPr/>
              <p:nvPr/>
            </p:nvSpPr>
            <p:spPr>
              <a:xfrm>
                <a:off x="5838603" y="4433655"/>
                <a:ext cx="3207553" cy="811740"/>
              </a:xfrm>
              <a:custGeom>
                <a:avLst/>
                <a:gdLst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3101339 w 3101339"/>
                  <a:gd name="connsiteY2" fmla="*/ 784860 h 784860"/>
                  <a:gd name="connsiteX3" fmla="*/ 0 w 3101339"/>
                  <a:gd name="connsiteY3" fmla="*/ 784860 h 784860"/>
                  <a:gd name="connsiteX4" fmla="*/ 0 w 3101339"/>
                  <a:gd name="connsiteY4" fmla="*/ 0 h 784860"/>
                  <a:gd name="connsiteX0" fmla="*/ 0 w 3101340"/>
                  <a:gd name="connsiteY0" fmla="*/ 0 h 784860"/>
                  <a:gd name="connsiteX1" fmla="*/ 3101339 w 3101340"/>
                  <a:gd name="connsiteY1" fmla="*/ 0 h 784860"/>
                  <a:gd name="connsiteX2" fmla="*/ 3101340 w 3101340"/>
                  <a:gd name="connsiteY2" fmla="*/ 403859 h 784860"/>
                  <a:gd name="connsiteX3" fmla="*/ 3101339 w 3101340"/>
                  <a:gd name="connsiteY3" fmla="*/ 784860 h 784860"/>
                  <a:gd name="connsiteX4" fmla="*/ 0 w 3101340"/>
                  <a:gd name="connsiteY4" fmla="*/ 784860 h 784860"/>
                  <a:gd name="connsiteX5" fmla="*/ 0 w 3101340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  <a:gd name="connsiteX0" fmla="*/ 0 w 3101339"/>
                  <a:gd name="connsiteY0" fmla="*/ 0 h 784860"/>
                  <a:gd name="connsiteX1" fmla="*/ 3101339 w 3101339"/>
                  <a:gd name="connsiteY1" fmla="*/ 0 h 784860"/>
                  <a:gd name="connsiteX2" fmla="*/ 2827020 w 3101339"/>
                  <a:gd name="connsiteY2" fmla="*/ 411479 h 784860"/>
                  <a:gd name="connsiteX3" fmla="*/ 3101339 w 3101339"/>
                  <a:gd name="connsiteY3" fmla="*/ 784860 h 784860"/>
                  <a:gd name="connsiteX4" fmla="*/ 0 w 3101339"/>
                  <a:gd name="connsiteY4" fmla="*/ 784860 h 784860"/>
                  <a:gd name="connsiteX5" fmla="*/ 0 w 3101339"/>
                  <a:gd name="connsiteY5" fmla="*/ 0 h 78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1339" h="784860">
                    <a:moveTo>
                      <a:pt x="0" y="0"/>
                    </a:moveTo>
                    <a:lnTo>
                      <a:pt x="3101339" y="0"/>
                    </a:lnTo>
                    <a:cubicBezTo>
                      <a:pt x="2987039" y="165100"/>
                      <a:pt x="2971800" y="208279"/>
                      <a:pt x="2827020" y="411479"/>
                    </a:cubicBezTo>
                    <a:cubicBezTo>
                      <a:pt x="2948940" y="568959"/>
                      <a:pt x="2987039" y="635000"/>
                      <a:pt x="3101339" y="784860"/>
                    </a:cubicBezTo>
                    <a:lnTo>
                      <a:pt x="0" y="7848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>
                    <a:lumMod val="50000"/>
                  </a:schemeClr>
                </a:solidFill>
              </a:ln>
              <a:effectLst>
                <a:outerShdw blurRad="50800" dist="25400" dir="16200000" rotWithShape="0">
                  <a:prstClr val="black">
                    <a:alpha val="2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8466A243-5ADC-689E-DC1F-D8F386E7479D}"/>
                  </a:ext>
                </a:extLst>
              </p:cNvPr>
              <p:cNvSpPr/>
              <p:nvPr/>
            </p:nvSpPr>
            <p:spPr>
              <a:xfrm>
                <a:off x="8967347" y="4555809"/>
                <a:ext cx="567430" cy="56743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2"/>
                </a:solidFill>
              </a:ln>
              <a:effectLst>
                <a:outerShdw blurRad="50800" dist="38100" dir="8100000" sx="101000" sy="101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9DE2C189-FDAC-D77D-9F82-609237A214AD}"/>
                </a:ext>
              </a:extLst>
            </p:cNvPr>
            <p:cNvSpPr/>
            <p:nvPr/>
          </p:nvSpPr>
          <p:spPr>
            <a:xfrm>
              <a:off x="6683569" y="4527757"/>
              <a:ext cx="2146290" cy="8254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i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king in your senses. A number by itself</a:t>
              </a:r>
            </a:p>
            <a:p>
              <a:endParaRPr lang="en-US" sz="16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8" name="Oval 197">
            <a:extLst>
              <a:ext uri="{FF2B5EF4-FFF2-40B4-BE49-F238E27FC236}">
                <a16:creationId xmlns:a16="http://schemas.microsoft.com/office/drawing/2014/main" id="{17B994F8-2DFB-9F5F-6E80-D77D1A33980A}"/>
              </a:ext>
            </a:extLst>
          </p:cNvPr>
          <p:cNvSpPr/>
          <p:nvPr/>
        </p:nvSpPr>
        <p:spPr>
          <a:xfrm>
            <a:off x="2389820" y="2632233"/>
            <a:ext cx="1909670" cy="169978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280C15A6-2DA7-D250-0A48-7CAFE74A84E2}"/>
              </a:ext>
            </a:extLst>
          </p:cNvPr>
          <p:cNvSpPr/>
          <p:nvPr/>
        </p:nvSpPr>
        <p:spPr>
          <a:xfrm>
            <a:off x="2068560" y="3195530"/>
            <a:ext cx="2552191" cy="305021"/>
          </a:xfrm>
          <a:prstGeom prst="ellipse">
            <a:avLst/>
          </a:prstGeom>
          <a:solidFill>
            <a:srgbClr val="174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Oval 199">
            <a:extLst>
              <a:ext uri="{FF2B5EF4-FFF2-40B4-BE49-F238E27FC236}">
                <a16:creationId xmlns:a16="http://schemas.microsoft.com/office/drawing/2014/main" id="{B73F32A1-8ECF-8F99-C244-97800B8C483D}"/>
              </a:ext>
            </a:extLst>
          </p:cNvPr>
          <p:cNvSpPr/>
          <p:nvPr/>
        </p:nvSpPr>
        <p:spPr>
          <a:xfrm>
            <a:off x="1764228" y="3794874"/>
            <a:ext cx="3160855" cy="309385"/>
          </a:xfrm>
          <a:prstGeom prst="ellipse">
            <a:avLst/>
          </a:prstGeom>
          <a:solidFill>
            <a:srgbClr val="174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1" name="Oval 200">
            <a:extLst>
              <a:ext uri="{FF2B5EF4-FFF2-40B4-BE49-F238E27FC236}">
                <a16:creationId xmlns:a16="http://schemas.microsoft.com/office/drawing/2014/main" id="{5CCE3C09-D717-13E3-D461-19B000E7C8D8}"/>
              </a:ext>
            </a:extLst>
          </p:cNvPr>
          <p:cNvSpPr/>
          <p:nvPr/>
        </p:nvSpPr>
        <p:spPr>
          <a:xfrm>
            <a:off x="2723450" y="1977298"/>
            <a:ext cx="1237013" cy="128808"/>
          </a:xfrm>
          <a:prstGeom prst="ellipse">
            <a:avLst/>
          </a:prstGeom>
          <a:solidFill>
            <a:srgbClr val="174E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Isosceles Triangle 201">
            <a:extLst>
              <a:ext uri="{FF2B5EF4-FFF2-40B4-BE49-F238E27FC236}">
                <a16:creationId xmlns:a16="http://schemas.microsoft.com/office/drawing/2014/main" id="{FA99B51C-B2C8-4499-AC49-4E17B0E6E7FD}"/>
              </a:ext>
            </a:extLst>
          </p:cNvPr>
          <p:cNvSpPr/>
          <p:nvPr/>
        </p:nvSpPr>
        <p:spPr>
          <a:xfrm>
            <a:off x="2771574" y="842342"/>
            <a:ext cx="1146164" cy="1247504"/>
          </a:xfrm>
          <a:prstGeom prst="triangle">
            <a:avLst/>
          </a:prstGeom>
          <a:solidFill>
            <a:schemeClr val="accent6"/>
          </a:solidFill>
          <a:ln>
            <a:solidFill>
              <a:schemeClr val="accent6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Isosceles Triangle 7">
            <a:extLst>
              <a:ext uri="{FF2B5EF4-FFF2-40B4-BE49-F238E27FC236}">
                <a16:creationId xmlns:a16="http://schemas.microsoft.com/office/drawing/2014/main" id="{E58DD2AF-5820-420B-E0DC-32F1965A99F8}"/>
              </a:ext>
            </a:extLst>
          </p:cNvPr>
          <p:cNvSpPr/>
          <p:nvPr/>
        </p:nvSpPr>
        <p:spPr>
          <a:xfrm>
            <a:off x="2432046" y="2044884"/>
            <a:ext cx="1830615" cy="760070"/>
          </a:xfrm>
          <a:custGeom>
            <a:avLst/>
            <a:gdLst>
              <a:gd name="connsiteX0" fmla="*/ 0 w 2187435"/>
              <a:gd name="connsiteY0" fmla="*/ 1397000 h 1397000"/>
              <a:gd name="connsiteX1" fmla="*/ 1093718 w 2187435"/>
              <a:gd name="connsiteY1" fmla="*/ 0 h 1397000"/>
              <a:gd name="connsiteX2" fmla="*/ 2187435 w 2187435"/>
              <a:gd name="connsiteY2" fmla="*/ 1397000 h 1397000"/>
              <a:gd name="connsiteX3" fmla="*/ 0 w 2187435"/>
              <a:gd name="connsiteY3" fmla="*/ 1397000 h 1397000"/>
              <a:gd name="connsiteX0" fmla="*/ 0 w 2139810"/>
              <a:gd name="connsiteY0" fmla="*/ 1397000 h 1397000"/>
              <a:gd name="connsiteX1" fmla="*/ 1093718 w 2139810"/>
              <a:gd name="connsiteY1" fmla="*/ 0 h 1397000"/>
              <a:gd name="connsiteX2" fmla="*/ 2139810 w 2139810"/>
              <a:gd name="connsiteY2" fmla="*/ 1336675 h 1397000"/>
              <a:gd name="connsiteX3" fmla="*/ 0 w 2139810"/>
              <a:gd name="connsiteY3" fmla="*/ 1397000 h 1397000"/>
              <a:gd name="connsiteX0" fmla="*/ 0 w 2079485"/>
              <a:gd name="connsiteY0" fmla="*/ 1343025 h 1343025"/>
              <a:gd name="connsiteX1" fmla="*/ 1033393 w 2079485"/>
              <a:gd name="connsiteY1" fmla="*/ 0 h 1343025"/>
              <a:gd name="connsiteX2" fmla="*/ 2079485 w 2079485"/>
              <a:gd name="connsiteY2" fmla="*/ 1336675 h 1343025"/>
              <a:gd name="connsiteX3" fmla="*/ 0 w 2079485"/>
              <a:gd name="connsiteY3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2076310 w 2076310"/>
              <a:gd name="connsiteY2" fmla="*/ 1343025 h 1343025"/>
              <a:gd name="connsiteX3" fmla="*/ 0 w 2076310"/>
              <a:gd name="connsiteY3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1533829 w 2076310"/>
              <a:gd name="connsiteY2" fmla="*/ 641351 h 1343025"/>
              <a:gd name="connsiteX3" fmla="*/ 2076310 w 2076310"/>
              <a:gd name="connsiteY3" fmla="*/ 1343025 h 1343025"/>
              <a:gd name="connsiteX4" fmla="*/ 0 w 2076310"/>
              <a:gd name="connsiteY4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1683054 w 2076310"/>
              <a:gd name="connsiteY2" fmla="*/ 568326 h 1343025"/>
              <a:gd name="connsiteX3" fmla="*/ 2076310 w 2076310"/>
              <a:gd name="connsiteY3" fmla="*/ 1343025 h 1343025"/>
              <a:gd name="connsiteX4" fmla="*/ 0 w 2076310"/>
              <a:gd name="connsiteY4" fmla="*/ 1343025 h 1343025"/>
              <a:gd name="connsiteX0" fmla="*/ 0 w 2076310"/>
              <a:gd name="connsiteY0" fmla="*/ 1343025 h 1343025"/>
              <a:gd name="connsiteX1" fmla="*/ 559104 w 2076310"/>
              <a:gd name="connsiteY1" fmla="*/ 619126 h 1343025"/>
              <a:gd name="connsiteX2" fmla="*/ 1033393 w 2076310"/>
              <a:gd name="connsiteY2" fmla="*/ 0 h 1343025"/>
              <a:gd name="connsiteX3" fmla="*/ 1683054 w 2076310"/>
              <a:gd name="connsiteY3" fmla="*/ 568326 h 1343025"/>
              <a:gd name="connsiteX4" fmla="*/ 2076310 w 2076310"/>
              <a:gd name="connsiteY4" fmla="*/ 1343025 h 1343025"/>
              <a:gd name="connsiteX5" fmla="*/ 0 w 2076310"/>
              <a:gd name="connsiteY5" fmla="*/ 1343025 h 1343025"/>
              <a:gd name="connsiteX0" fmla="*/ 0 w 2076310"/>
              <a:gd name="connsiteY0" fmla="*/ 1343025 h 1343025"/>
              <a:gd name="connsiteX1" fmla="*/ 384479 w 2076310"/>
              <a:gd name="connsiteY1" fmla="*/ 577851 h 1343025"/>
              <a:gd name="connsiteX2" fmla="*/ 1033393 w 2076310"/>
              <a:gd name="connsiteY2" fmla="*/ 0 h 1343025"/>
              <a:gd name="connsiteX3" fmla="*/ 1683054 w 2076310"/>
              <a:gd name="connsiteY3" fmla="*/ 568326 h 1343025"/>
              <a:gd name="connsiteX4" fmla="*/ 2076310 w 2076310"/>
              <a:gd name="connsiteY4" fmla="*/ 1343025 h 1343025"/>
              <a:gd name="connsiteX5" fmla="*/ 0 w 2076310"/>
              <a:gd name="connsiteY5" fmla="*/ 1343025 h 1343025"/>
              <a:gd name="connsiteX0" fmla="*/ 0 w 2076310"/>
              <a:gd name="connsiteY0" fmla="*/ 774699 h 774699"/>
              <a:gd name="connsiteX1" fmla="*/ 384479 w 2076310"/>
              <a:gd name="connsiteY1" fmla="*/ 9525 h 774699"/>
              <a:gd name="connsiteX2" fmla="*/ 1683054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3175 h 774699"/>
              <a:gd name="connsiteX2" fmla="*/ 1683054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87399 h 787399"/>
              <a:gd name="connsiteX1" fmla="*/ 330504 w 2076310"/>
              <a:gd name="connsiteY1" fmla="*/ 15875 h 787399"/>
              <a:gd name="connsiteX2" fmla="*/ 1730679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84224 h 784224"/>
              <a:gd name="connsiteX1" fmla="*/ 330504 w 2076310"/>
              <a:gd name="connsiteY1" fmla="*/ 12700 h 784224"/>
              <a:gd name="connsiteX2" fmla="*/ 1733854 w 2076310"/>
              <a:gd name="connsiteY2" fmla="*/ 0 h 784224"/>
              <a:gd name="connsiteX3" fmla="*/ 2076310 w 2076310"/>
              <a:gd name="connsiteY3" fmla="*/ 784224 h 784224"/>
              <a:gd name="connsiteX4" fmla="*/ 0 w 2076310"/>
              <a:gd name="connsiteY4" fmla="*/ 784224 h 784224"/>
              <a:gd name="connsiteX0" fmla="*/ 0 w 2076310"/>
              <a:gd name="connsiteY0" fmla="*/ 787399 h 787399"/>
              <a:gd name="connsiteX1" fmla="*/ 330504 w 2076310"/>
              <a:gd name="connsiteY1" fmla="*/ 15875 h 787399"/>
              <a:gd name="connsiteX2" fmla="*/ 1733854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87399 h 787399"/>
              <a:gd name="connsiteX1" fmla="*/ 330504 w 2076310"/>
              <a:gd name="connsiteY1" fmla="*/ 6350 h 787399"/>
              <a:gd name="connsiteX2" fmla="*/ 1733854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90574 h 790574"/>
              <a:gd name="connsiteX1" fmla="*/ 330504 w 2076310"/>
              <a:gd name="connsiteY1" fmla="*/ 9525 h 790574"/>
              <a:gd name="connsiteX2" fmla="*/ 1733854 w 2076310"/>
              <a:gd name="connsiteY2" fmla="*/ 0 h 790574"/>
              <a:gd name="connsiteX3" fmla="*/ 2076310 w 2076310"/>
              <a:gd name="connsiteY3" fmla="*/ 790574 h 790574"/>
              <a:gd name="connsiteX4" fmla="*/ 0 w 2076310"/>
              <a:gd name="connsiteY4" fmla="*/ 790574 h 790574"/>
              <a:gd name="connsiteX0" fmla="*/ 0 w 2076310"/>
              <a:gd name="connsiteY0" fmla="*/ 790574 h 790574"/>
              <a:gd name="connsiteX1" fmla="*/ 330504 w 2076310"/>
              <a:gd name="connsiteY1" fmla="*/ 15875 h 790574"/>
              <a:gd name="connsiteX2" fmla="*/ 1733854 w 2076310"/>
              <a:gd name="connsiteY2" fmla="*/ 0 h 790574"/>
              <a:gd name="connsiteX3" fmla="*/ 2076310 w 2076310"/>
              <a:gd name="connsiteY3" fmla="*/ 790574 h 790574"/>
              <a:gd name="connsiteX4" fmla="*/ 0 w 2076310"/>
              <a:gd name="connsiteY4" fmla="*/ 790574 h 790574"/>
              <a:gd name="connsiteX0" fmla="*/ 0 w 2076310"/>
              <a:gd name="connsiteY0" fmla="*/ 781049 h 781049"/>
              <a:gd name="connsiteX1" fmla="*/ 330504 w 2076310"/>
              <a:gd name="connsiteY1" fmla="*/ 6350 h 781049"/>
              <a:gd name="connsiteX2" fmla="*/ 1733854 w 2076310"/>
              <a:gd name="connsiteY2" fmla="*/ 0 h 781049"/>
              <a:gd name="connsiteX3" fmla="*/ 2076310 w 2076310"/>
              <a:gd name="connsiteY3" fmla="*/ 781049 h 781049"/>
              <a:gd name="connsiteX4" fmla="*/ 0 w 2076310"/>
              <a:gd name="connsiteY4" fmla="*/ 781049 h 78104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821265"/>
              <a:gd name="connsiteX1" fmla="*/ 330504 w 2076310"/>
              <a:gd name="connsiteY1" fmla="*/ 0 h 821265"/>
              <a:gd name="connsiteX2" fmla="*/ 1737029 w 2076310"/>
              <a:gd name="connsiteY2" fmla="*/ 0 h 821265"/>
              <a:gd name="connsiteX3" fmla="*/ 2076310 w 2076310"/>
              <a:gd name="connsiteY3" fmla="*/ 774699 h 821265"/>
              <a:gd name="connsiteX4" fmla="*/ 0 w 2076310"/>
              <a:gd name="connsiteY4" fmla="*/ 774699 h 821265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74699 h 855076"/>
              <a:gd name="connsiteX1" fmla="*/ 330504 w 2076310"/>
              <a:gd name="connsiteY1" fmla="*/ 0 h 855076"/>
              <a:gd name="connsiteX2" fmla="*/ 1737029 w 2076310"/>
              <a:gd name="connsiteY2" fmla="*/ 0 h 855076"/>
              <a:gd name="connsiteX3" fmla="*/ 2076310 w 2076310"/>
              <a:gd name="connsiteY3" fmla="*/ 774699 h 855076"/>
              <a:gd name="connsiteX4" fmla="*/ 0 w 2076310"/>
              <a:gd name="connsiteY4" fmla="*/ 774699 h 855076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3321"/>
              <a:gd name="connsiteX1" fmla="*/ 330504 w 2076310"/>
              <a:gd name="connsiteY1" fmla="*/ 0 h 853321"/>
              <a:gd name="connsiteX2" fmla="*/ 1737029 w 2076310"/>
              <a:gd name="connsiteY2" fmla="*/ 0 h 853321"/>
              <a:gd name="connsiteX3" fmla="*/ 2076310 w 2076310"/>
              <a:gd name="connsiteY3" fmla="*/ 774699 h 853321"/>
              <a:gd name="connsiteX4" fmla="*/ 0 w 2076310"/>
              <a:gd name="connsiteY4" fmla="*/ 774699 h 853321"/>
              <a:gd name="connsiteX0" fmla="*/ 0 w 2076310"/>
              <a:gd name="connsiteY0" fmla="*/ 774699 h 853321"/>
              <a:gd name="connsiteX1" fmla="*/ 330504 w 2076310"/>
              <a:gd name="connsiteY1" fmla="*/ 0 h 853321"/>
              <a:gd name="connsiteX2" fmla="*/ 1737029 w 2076310"/>
              <a:gd name="connsiteY2" fmla="*/ 0 h 853321"/>
              <a:gd name="connsiteX3" fmla="*/ 2076310 w 2076310"/>
              <a:gd name="connsiteY3" fmla="*/ 774699 h 853321"/>
              <a:gd name="connsiteX4" fmla="*/ 0 w 2076310"/>
              <a:gd name="connsiteY4" fmla="*/ 774699 h 853321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8647"/>
              <a:gd name="connsiteX1" fmla="*/ 330504 w 2076310"/>
              <a:gd name="connsiteY1" fmla="*/ 0 h 858647"/>
              <a:gd name="connsiteX2" fmla="*/ 1737029 w 2076310"/>
              <a:gd name="connsiteY2" fmla="*/ 0 h 858647"/>
              <a:gd name="connsiteX3" fmla="*/ 2076310 w 2076310"/>
              <a:gd name="connsiteY3" fmla="*/ 774699 h 858647"/>
              <a:gd name="connsiteX4" fmla="*/ 0 w 2076310"/>
              <a:gd name="connsiteY4" fmla="*/ 774699 h 858647"/>
              <a:gd name="connsiteX0" fmla="*/ 0 w 2076310"/>
              <a:gd name="connsiteY0" fmla="*/ 774699 h 856891"/>
              <a:gd name="connsiteX1" fmla="*/ 330504 w 2076310"/>
              <a:gd name="connsiteY1" fmla="*/ 0 h 856891"/>
              <a:gd name="connsiteX2" fmla="*/ 1737029 w 2076310"/>
              <a:gd name="connsiteY2" fmla="*/ 0 h 856891"/>
              <a:gd name="connsiteX3" fmla="*/ 2076310 w 2076310"/>
              <a:gd name="connsiteY3" fmla="*/ 774699 h 856891"/>
              <a:gd name="connsiteX4" fmla="*/ 0 w 2076310"/>
              <a:gd name="connsiteY4" fmla="*/ 774699 h 856891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83909 h 858037"/>
              <a:gd name="connsiteX1" fmla="*/ 330504 w 2076310"/>
              <a:gd name="connsiteY1" fmla="*/ 0 h 858037"/>
              <a:gd name="connsiteX2" fmla="*/ 1737029 w 2076310"/>
              <a:gd name="connsiteY2" fmla="*/ 0 h 858037"/>
              <a:gd name="connsiteX3" fmla="*/ 2076310 w 2076310"/>
              <a:gd name="connsiteY3" fmla="*/ 774699 h 858037"/>
              <a:gd name="connsiteX4" fmla="*/ 0 w 2076310"/>
              <a:gd name="connsiteY4" fmla="*/ 783909 h 858037"/>
              <a:gd name="connsiteX0" fmla="*/ 0 w 2082450"/>
              <a:gd name="connsiteY0" fmla="*/ 783909 h 859488"/>
              <a:gd name="connsiteX1" fmla="*/ 330504 w 2082450"/>
              <a:gd name="connsiteY1" fmla="*/ 0 h 859488"/>
              <a:gd name="connsiteX2" fmla="*/ 1737029 w 2082450"/>
              <a:gd name="connsiteY2" fmla="*/ 0 h 859488"/>
              <a:gd name="connsiteX3" fmla="*/ 2082450 w 2082450"/>
              <a:gd name="connsiteY3" fmla="*/ 777769 h 859488"/>
              <a:gd name="connsiteX4" fmla="*/ 0 w 2082450"/>
              <a:gd name="connsiteY4" fmla="*/ 783909 h 859488"/>
              <a:gd name="connsiteX0" fmla="*/ 0 w 2082450"/>
              <a:gd name="connsiteY0" fmla="*/ 783909 h 856182"/>
              <a:gd name="connsiteX1" fmla="*/ 330504 w 2082450"/>
              <a:gd name="connsiteY1" fmla="*/ 0 h 856182"/>
              <a:gd name="connsiteX2" fmla="*/ 1737029 w 2082450"/>
              <a:gd name="connsiteY2" fmla="*/ 0 h 856182"/>
              <a:gd name="connsiteX3" fmla="*/ 2082450 w 2082450"/>
              <a:gd name="connsiteY3" fmla="*/ 777769 h 856182"/>
              <a:gd name="connsiteX4" fmla="*/ 0 w 2082450"/>
              <a:gd name="connsiteY4" fmla="*/ 783909 h 856182"/>
              <a:gd name="connsiteX0" fmla="*/ 0 w 2082450"/>
              <a:gd name="connsiteY0" fmla="*/ 783909 h 854976"/>
              <a:gd name="connsiteX1" fmla="*/ 330504 w 2082450"/>
              <a:gd name="connsiteY1" fmla="*/ 0 h 854976"/>
              <a:gd name="connsiteX2" fmla="*/ 1737029 w 2082450"/>
              <a:gd name="connsiteY2" fmla="*/ 0 h 854976"/>
              <a:gd name="connsiteX3" fmla="*/ 2082450 w 2082450"/>
              <a:gd name="connsiteY3" fmla="*/ 777769 h 854976"/>
              <a:gd name="connsiteX4" fmla="*/ 0 w 2082450"/>
              <a:gd name="connsiteY4" fmla="*/ 783909 h 854976"/>
              <a:gd name="connsiteX0" fmla="*/ 0 w 2082450"/>
              <a:gd name="connsiteY0" fmla="*/ 783909 h 853886"/>
              <a:gd name="connsiteX1" fmla="*/ 330504 w 2082450"/>
              <a:gd name="connsiteY1" fmla="*/ 0 h 853886"/>
              <a:gd name="connsiteX2" fmla="*/ 1737029 w 2082450"/>
              <a:gd name="connsiteY2" fmla="*/ 0 h 853886"/>
              <a:gd name="connsiteX3" fmla="*/ 2082450 w 2082450"/>
              <a:gd name="connsiteY3" fmla="*/ 777769 h 853886"/>
              <a:gd name="connsiteX4" fmla="*/ 0 w 2082450"/>
              <a:gd name="connsiteY4" fmla="*/ 783909 h 853886"/>
              <a:gd name="connsiteX0" fmla="*/ 0 w 2082450"/>
              <a:gd name="connsiteY0" fmla="*/ 786979 h 856956"/>
              <a:gd name="connsiteX1" fmla="*/ 330504 w 2082450"/>
              <a:gd name="connsiteY1" fmla="*/ 0 h 856956"/>
              <a:gd name="connsiteX2" fmla="*/ 1737029 w 2082450"/>
              <a:gd name="connsiteY2" fmla="*/ 3070 h 856956"/>
              <a:gd name="connsiteX3" fmla="*/ 2082450 w 2082450"/>
              <a:gd name="connsiteY3" fmla="*/ 780839 h 856956"/>
              <a:gd name="connsiteX4" fmla="*/ 0 w 2082450"/>
              <a:gd name="connsiteY4" fmla="*/ 786979 h 856956"/>
              <a:gd name="connsiteX0" fmla="*/ 0 w 2082450"/>
              <a:gd name="connsiteY0" fmla="*/ 786979 h 856956"/>
              <a:gd name="connsiteX1" fmla="*/ 330504 w 2082450"/>
              <a:gd name="connsiteY1" fmla="*/ 0 h 856956"/>
              <a:gd name="connsiteX2" fmla="*/ 1737029 w 2082450"/>
              <a:gd name="connsiteY2" fmla="*/ 3070 h 856956"/>
              <a:gd name="connsiteX3" fmla="*/ 2082450 w 2082450"/>
              <a:gd name="connsiteY3" fmla="*/ 780839 h 856956"/>
              <a:gd name="connsiteX4" fmla="*/ 0 w 2082450"/>
              <a:gd name="connsiteY4" fmla="*/ 786979 h 856956"/>
              <a:gd name="connsiteX0" fmla="*/ 0 w 2082450"/>
              <a:gd name="connsiteY0" fmla="*/ 786979 h 856956"/>
              <a:gd name="connsiteX1" fmla="*/ 330504 w 2082450"/>
              <a:gd name="connsiteY1" fmla="*/ 0 h 856956"/>
              <a:gd name="connsiteX2" fmla="*/ 1737029 w 2082450"/>
              <a:gd name="connsiteY2" fmla="*/ 3070 h 856956"/>
              <a:gd name="connsiteX3" fmla="*/ 2082450 w 2082450"/>
              <a:gd name="connsiteY3" fmla="*/ 780839 h 856956"/>
              <a:gd name="connsiteX4" fmla="*/ 0 w 2082450"/>
              <a:gd name="connsiteY4" fmla="*/ 786979 h 856956"/>
              <a:gd name="connsiteX0" fmla="*/ 0 w 2082450"/>
              <a:gd name="connsiteY0" fmla="*/ 786979 h 856956"/>
              <a:gd name="connsiteX1" fmla="*/ 330504 w 2082450"/>
              <a:gd name="connsiteY1" fmla="*/ 0 h 856956"/>
              <a:gd name="connsiteX2" fmla="*/ 1737029 w 2082450"/>
              <a:gd name="connsiteY2" fmla="*/ 3070 h 856956"/>
              <a:gd name="connsiteX3" fmla="*/ 2082450 w 2082450"/>
              <a:gd name="connsiteY3" fmla="*/ 780839 h 856956"/>
              <a:gd name="connsiteX4" fmla="*/ 0 w 2082450"/>
              <a:gd name="connsiteY4" fmla="*/ 786979 h 856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2450" h="856956">
                <a:moveTo>
                  <a:pt x="0" y="786979"/>
                </a:moveTo>
                <a:lnTo>
                  <a:pt x="330504" y="0"/>
                </a:lnTo>
                <a:cubicBezTo>
                  <a:pt x="786015" y="60325"/>
                  <a:pt x="1293903" y="63080"/>
                  <a:pt x="1737029" y="3070"/>
                </a:cubicBezTo>
                <a:lnTo>
                  <a:pt x="2082450" y="780839"/>
                </a:lnTo>
                <a:cubicBezTo>
                  <a:pt x="1413098" y="873336"/>
                  <a:pt x="559069" y="888684"/>
                  <a:pt x="0" y="786979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38100" dir="16200000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Isosceles Triangle 7">
            <a:extLst>
              <a:ext uri="{FF2B5EF4-FFF2-40B4-BE49-F238E27FC236}">
                <a16:creationId xmlns:a16="http://schemas.microsoft.com/office/drawing/2014/main" id="{EE057DF1-9122-41FE-AFED-3E47514346F7}"/>
              </a:ext>
            </a:extLst>
          </p:cNvPr>
          <p:cNvSpPr/>
          <p:nvPr/>
        </p:nvSpPr>
        <p:spPr>
          <a:xfrm>
            <a:off x="2126365" y="2727680"/>
            <a:ext cx="2436578" cy="819849"/>
          </a:xfrm>
          <a:custGeom>
            <a:avLst/>
            <a:gdLst>
              <a:gd name="connsiteX0" fmla="*/ 0 w 2187435"/>
              <a:gd name="connsiteY0" fmla="*/ 1397000 h 1397000"/>
              <a:gd name="connsiteX1" fmla="*/ 1093718 w 2187435"/>
              <a:gd name="connsiteY1" fmla="*/ 0 h 1397000"/>
              <a:gd name="connsiteX2" fmla="*/ 2187435 w 2187435"/>
              <a:gd name="connsiteY2" fmla="*/ 1397000 h 1397000"/>
              <a:gd name="connsiteX3" fmla="*/ 0 w 2187435"/>
              <a:gd name="connsiteY3" fmla="*/ 1397000 h 1397000"/>
              <a:gd name="connsiteX0" fmla="*/ 0 w 2139810"/>
              <a:gd name="connsiteY0" fmla="*/ 1397000 h 1397000"/>
              <a:gd name="connsiteX1" fmla="*/ 1093718 w 2139810"/>
              <a:gd name="connsiteY1" fmla="*/ 0 h 1397000"/>
              <a:gd name="connsiteX2" fmla="*/ 2139810 w 2139810"/>
              <a:gd name="connsiteY2" fmla="*/ 1336675 h 1397000"/>
              <a:gd name="connsiteX3" fmla="*/ 0 w 2139810"/>
              <a:gd name="connsiteY3" fmla="*/ 1397000 h 1397000"/>
              <a:gd name="connsiteX0" fmla="*/ 0 w 2079485"/>
              <a:gd name="connsiteY0" fmla="*/ 1343025 h 1343025"/>
              <a:gd name="connsiteX1" fmla="*/ 1033393 w 2079485"/>
              <a:gd name="connsiteY1" fmla="*/ 0 h 1343025"/>
              <a:gd name="connsiteX2" fmla="*/ 2079485 w 2079485"/>
              <a:gd name="connsiteY2" fmla="*/ 1336675 h 1343025"/>
              <a:gd name="connsiteX3" fmla="*/ 0 w 2079485"/>
              <a:gd name="connsiteY3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2076310 w 2076310"/>
              <a:gd name="connsiteY2" fmla="*/ 1343025 h 1343025"/>
              <a:gd name="connsiteX3" fmla="*/ 0 w 2076310"/>
              <a:gd name="connsiteY3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1533829 w 2076310"/>
              <a:gd name="connsiteY2" fmla="*/ 641351 h 1343025"/>
              <a:gd name="connsiteX3" fmla="*/ 2076310 w 2076310"/>
              <a:gd name="connsiteY3" fmla="*/ 1343025 h 1343025"/>
              <a:gd name="connsiteX4" fmla="*/ 0 w 2076310"/>
              <a:gd name="connsiteY4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1683054 w 2076310"/>
              <a:gd name="connsiteY2" fmla="*/ 568326 h 1343025"/>
              <a:gd name="connsiteX3" fmla="*/ 2076310 w 2076310"/>
              <a:gd name="connsiteY3" fmla="*/ 1343025 h 1343025"/>
              <a:gd name="connsiteX4" fmla="*/ 0 w 2076310"/>
              <a:gd name="connsiteY4" fmla="*/ 1343025 h 1343025"/>
              <a:gd name="connsiteX0" fmla="*/ 0 w 2076310"/>
              <a:gd name="connsiteY0" fmla="*/ 1343025 h 1343025"/>
              <a:gd name="connsiteX1" fmla="*/ 559104 w 2076310"/>
              <a:gd name="connsiteY1" fmla="*/ 619126 h 1343025"/>
              <a:gd name="connsiteX2" fmla="*/ 1033393 w 2076310"/>
              <a:gd name="connsiteY2" fmla="*/ 0 h 1343025"/>
              <a:gd name="connsiteX3" fmla="*/ 1683054 w 2076310"/>
              <a:gd name="connsiteY3" fmla="*/ 568326 h 1343025"/>
              <a:gd name="connsiteX4" fmla="*/ 2076310 w 2076310"/>
              <a:gd name="connsiteY4" fmla="*/ 1343025 h 1343025"/>
              <a:gd name="connsiteX5" fmla="*/ 0 w 2076310"/>
              <a:gd name="connsiteY5" fmla="*/ 1343025 h 1343025"/>
              <a:gd name="connsiteX0" fmla="*/ 0 w 2076310"/>
              <a:gd name="connsiteY0" fmla="*/ 1343025 h 1343025"/>
              <a:gd name="connsiteX1" fmla="*/ 384479 w 2076310"/>
              <a:gd name="connsiteY1" fmla="*/ 577851 h 1343025"/>
              <a:gd name="connsiteX2" fmla="*/ 1033393 w 2076310"/>
              <a:gd name="connsiteY2" fmla="*/ 0 h 1343025"/>
              <a:gd name="connsiteX3" fmla="*/ 1683054 w 2076310"/>
              <a:gd name="connsiteY3" fmla="*/ 568326 h 1343025"/>
              <a:gd name="connsiteX4" fmla="*/ 2076310 w 2076310"/>
              <a:gd name="connsiteY4" fmla="*/ 1343025 h 1343025"/>
              <a:gd name="connsiteX5" fmla="*/ 0 w 2076310"/>
              <a:gd name="connsiteY5" fmla="*/ 1343025 h 1343025"/>
              <a:gd name="connsiteX0" fmla="*/ 0 w 2076310"/>
              <a:gd name="connsiteY0" fmla="*/ 774699 h 774699"/>
              <a:gd name="connsiteX1" fmla="*/ 384479 w 2076310"/>
              <a:gd name="connsiteY1" fmla="*/ 9525 h 774699"/>
              <a:gd name="connsiteX2" fmla="*/ 1683054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3175 h 774699"/>
              <a:gd name="connsiteX2" fmla="*/ 1683054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87399 h 787399"/>
              <a:gd name="connsiteX1" fmla="*/ 330504 w 2076310"/>
              <a:gd name="connsiteY1" fmla="*/ 15875 h 787399"/>
              <a:gd name="connsiteX2" fmla="*/ 1730679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84224 h 784224"/>
              <a:gd name="connsiteX1" fmla="*/ 330504 w 2076310"/>
              <a:gd name="connsiteY1" fmla="*/ 12700 h 784224"/>
              <a:gd name="connsiteX2" fmla="*/ 1733854 w 2076310"/>
              <a:gd name="connsiteY2" fmla="*/ 0 h 784224"/>
              <a:gd name="connsiteX3" fmla="*/ 2076310 w 2076310"/>
              <a:gd name="connsiteY3" fmla="*/ 784224 h 784224"/>
              <a:gd name="connsiteX4" fmla="*/ 0 w 2076310"/>
              <a:gd name="connsiteY4" fmla="*/ 784224 h 784224"/>
              <a:gd name="connsiteX0" fmla="*/ 0 w 2076310"/>
              <a:gd name="connsiteY0" fmla="*/ 787399 h 787399"/>
              <a:gd name="connsiteX1" fmla="*/ 330504 w 2076310"/>
              <a:gd name="connsiteY1" fmla="*/ 15875 h 787399"/>
              <a:gd name="connsiteX2" fmla="*/ 1733854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87399 h 787399"/>
              <a:gd name="connsiteX1" fmla="*/ 330504 w 2076310"/>
              <a:gd name="connsiteY1" fmla="*/ 6350 h 787399"/>
              <a:gd name="connsiteX2" fmla="*/ 1733854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90574 h 790574"/>
              <a:gd name="connsiteX1" fmla="*/ 330504 w 2076310"/>
              <a:gd name="connsiteY1" fmla="*/ 9525 h 790574"/>
              <a:gd name="connsiteX2" fmla="*/ 1733854 w 2076310"/>
              <a:gd name="connsiteY2" fmla="*/ 0 h 790574"/>
              <a:gd name="connsiteX3" fmla="*/ 2076310 w 2076310"/>
              <a:gd name="connsiteY3" fmla="*/ 790574 h 790574"/>
              <a:gd name="connsiteX4" fmla="*/ 0 w 2076310"/>
              <a:gd name="connsiteY4" fmla="*/ 790574 h 790574"/>
              <a:gd name="connsiteX0" fmla="*/ 0 w 2076310"/>
              <a:gd name="connsiteY0" fmla="*/ 790574 h 790574"/>
              <a:gd name="connsiteX1" fmla="*/ 330504 w 2076310"/>
              <a:gd name="connsiteY1" fmla="*/ 15875 h 790574"/>
              <a:gd name="connsiteX2" fmla="*/ 1733854 w 2076310"/>
              <a:gd name="connsiteY2" fmla="*/ 0 h 790574"/>
              <a:gd name="connsiteX3" fmla="*/ 2076310 w 2076310"/>
              <a:gd name="connsiteY3" fmla="*/ 790574 h 790574"/>
              <a:gd name="connsiteX4" fmla="*/ 0 w 2076310"/>
              <a:gd name="connsiteY4" fmla="*/ 790574 h 790574"/>
              <a:gd name="connsiteX0" fmla="*/ 0 w 2076310"/>
              <a:gd name="connsiteY0" fmla="*/ 781049 h 781049"/>
              <a:gd name="connsiteX1" fmla="*/ 330504 w 2076310"/>
              <a:gd name="connsiteY1" fmla="*/ 6350 h 781049"/>
              <a:gd name="connsiteX2" fmla="*/ 1733854 w 2076310"/>
              <a:gd name="connsiteY2" fmla="*/ 0 h 781049"/>
              <a:gd name="connsiteX3" fmla="*/ 2076310 w 2076310"/>
              <a:gd name="connsiteY3" fmla="*/ 781049 h 781049"/>
              <a:gd name="connsiteX4" fmla="*/ 0 w 2076310"/>
              <a:gd name="connsiteY4" fmla="*/ 781049 h 78104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821265"/>
              <a:gd name="connsiteX1" fmla="*/ 330504 w 2076310"/>
              <a:gd name="connsiteY1" fmla="*/ 0 h 821265"/>
              <a:gd name="connsiteX2" fmla="*/ 1737029 w 2076310"/>
              <a:gd name="connsiteY2" fmla="*/ 0 h 821265"/>
              <a:gd name="connsiteX3" fmla="*/ 2076310 w 2076310"/>
              <a:gd name="connsiteY3" fmla="*/ 774699 h 821265"/>
              <a:gd name="connsiteX4" fmla="*/ 0 w 2076310"/>
              <a:gd name="connsiteY4" fmla="*/ 774699 h 821265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74699 h 855076"/>
              <a:gd name="connsiteX1" fmla="*/ 330504 w 2076310"/>
              <a:gd name="connsiteY1" fmla="*/ 0 h 855076"/>
              <a:gd name="connsiteX2" fmla="*/ 1737029 w 2076310"/>
              <a:gd name="connsiteY2" fmla="*/ 0 h 855076"/>
              <a:gd name="connsiteX3" fmla="*/ 2076310 w 2076310"/>
              <a:gd name="connsiteY3" fmla="*/ 774699 h 855076"/>
              <a:gd name="connsiteX4" fmla="*/ 0 w 2076310"/>
              <a:gd name="connsiteY4" fmla="*/ 774699 h 855076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3321"/>
              <a:gd name="connsiteX1" fmla="*/ 330504 w 2076310"/>
              <a:gd name="connsiteY1" fmla="*/ 0 h 853321"/>
              <a:gd name="connsiteX2" fmla="*/ 1737029 w 2076310"/>
              <a:gd name="connsiteY2" fmla="*/ 0 h 853321"/>
              <a:gd name="connsiteX3" fmla="*/ 2076310 w 2076310"/>
              <a:gd name="connsiteY3" fmla="*/ 774699 h 853321"/>
              <a:gd name="connsiteX4" fmla="*/ 0 w 2076310"/>
              <a:gd name="connsiteY4" fmla="*/ 774699 h 853321"/>
              <a:gd name="connsiteX0" fmla="*/ 0 w 2076310"/>
              <a:gd name="connsiteY0" fmla="*/ 774699 h 853321"/>
              <a:gd name="connsiteX1" fmla="*/ 330504 w 2076310"/>
              <a:gd name="connsiteY1" fmla="*/ 0 h 853321"/>
              <a:gd name="connsiteX2" fmla="*/ 1737029 w 2076310"/>
              <a:gd name="connsiteY2" fmla="*/ 0 h 853321"/>
              <a:gd name="connsiteX3" fmla="*/ 2076310 w 2076310"/>
              <a:gd name="connsiteY3" fmla="*/ 774699 h 853321"/>
              <a:gd name="connsiteX4" fmla="*/ 0 w 2076310"/>
              <a:gd name="connsiteY4" fmla="*/ 774699 h 853321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8647"/>
              <a:gd name="connsiteX1" fmla="*/ 330504 w 2076310"/>
              <a:gd name="connsiteY1" fmla="*/ 0 h 858647"/>
              <a:gd name="connsiteX2" fmla="*/ 1737029 w 2076310"/>
              <a:gd name="connsiteY2" fmla="*/ 0 h 858647"/>
              <a:gd name="connsiteX3" fmla="*/ 2076310 w 2076310"/>
              <a:gd name="connsiteY3" fmla="*/ 774699 h 858647"/>
              <a:gd name="connsiteX4" fmla="*/ 0 w 2076310"/>
              <a:gd name="connsiteY4" fmla="*/ 774699 h 858647"/>
              <a:gd name="connsiteX0" fmla="*/ 0 w 2076310"/>
              <a:gd name="connsiteY0" fmla="*/ 774699 h 856891"/>
              <a:gd name="connsiteX1" fmla="*/ 330504 w 2076310"/>
              <a:gd name="connsiteY1" fmla="*/ 0 h 856891"/>
              <a:gd name="connsiteX2" fmla="*/ 1737029 w 2076310"/>
              <a:gd name="connsiteY2" fmla="*/ 0 h 856891"/>
              <a:gd name="connsiteX3" fmla="*/ 2076310 w 2076310"/>
              <a:gd name="connsiteY3" fmla="*/ 774699 h 856891"/>
              <a:gd name="connsiteX4" fmla="*/ 0 w 2076310"/>
              <a:gd name="connsiteY4" fmla="*/ 774699 h 856891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805885 h 884466"/>
              <a:gd name="connsiteX1" fmla="*/ 330504 w 2076310"/>
              <a:gd name="connsiteY1" fmla="*/ 31186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11082 h 889663"/>
              <a:gd name="connsiteX1" fmla="*/ 234180 w 2076310"/>
              <a:gd name="connsiteY1" fmla="*/ 0 h 889663"/>
              <a:gd name="connsiteX2" fmla="*/ 1861893 w 2076310"/>
              <a:gd name="connsiteY2" fmla="*/ 5197 h 889663"/>
              <a:gd name="connsiteX3" fmla="*/ 2076310 w 2076310"/>
              <a:gd name="connsiteY3" fmla="*/ 811082 h 889663"/>
              <a:gd name="connsiteX4" fmla="*/ 0 w 2076310"/>
              <a:gd name="connsiteY4" fmla="*/ 811082 h 889663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955421"/>
              <a:gd name="connsiteX1" fmla="*/ 227045 w 2076310"/>
              <a:gd name="connsiteY1" fmla="*/ 0 h 955421"/>
              <a:gd name="connsiteX2" fmla="*/ 1861893 w 2076310"/>
              <a:gd name="connsiteY2" fmla="*/ 0 h 955421"/>
              <a:gd name="connsiteX3" fmla="*/ 2076310 w 2076310"/>
              <a:gd name="connsiteY3" fmla="*/ 805885 h 955421"/>
              <a:gd name="connsiteX4" fmla="*/ 0 w 2076310"/>
              <a:gd name="connsiteY4" fmla="*/ 805885 h 955421"/>
              <a:gd name="connsiteX0" fmla="*/ 0 w 2076310"/>
              <a:gd name="connsiteY0" fmla="*/ 805885 h 988643"/>
              <a:gd name="connsiteX1" fmla="*/ 227045 w 2076310"/>
              <a:gd name="connsiteY1" fmla="*/ 0 h 988643"/>
              <a:gd name="connsiteX2" fmla="*/ 1861893 w 2076310"/>
              <a:gd name="connsiteY2" fmla="*/ 0 h 988643"/>
              <a:gd name="connsiteX3" fmla="*/ 2076310 w 2076310"/>
              <a:gd name="connsiteY3" fmla="*/ 805885 h 988643"/>
              <a:gd name="connsiteX4" fmla="*/ 0 w 2076310"/>
              <a:gd name="connsiteY4" fmla="*/ 805885 h 988643"/>
              <a:gd name="connsiteX0" fmla="*/ 0 w 2076310"/>
              <a:gd name="connsiteY0" fmla="*/ 805885 h 992804"/>
              <a:gd name="connsiteX1" fmla="*/ 227045 w 2076310"/>
              <a:gd name="connsiteY1" fmla="*/ 0 h 992804"/>
              <a:gd name="connsiteX2" fmla="*/ 1861893 w 2076310"/>
              <a:gd name="connsiteY2" fmla="*/ 0 h 992804"/>
              <a:gd name="connsiteX3" fmla="*/ 2076310 w 2076310"/>
              <a:gd name="connsiteY3" fmla="*/ 805885 h 992804"/>
              <a:gd name="connsiteX4" fmla="*/ 0 w 2076310"/>
              <a:gd name="connsiteY4" fmla="*/ 805885 h 992804"/>
              <a:gd name="connsiteX0" fmla="*/ 0 w 2076310"/>
              <a:gd name="connsiteY0" fmla="*/ 805885 h 1003381"/>
              <a:gd name="connsiteX1" fmla="*/ 227045 w 2076310"/>
              <a:gd name="connsiteY1" fmla="*/ 0 h 1003381"/>
              <a:gd name="connsiteX2" fmla="*/ 1861893 w 2076310"/>
              <a:gd name="connsiteY2" fmla="*/ 0 h 1003381"/>
              <a:gd name="connsiteX3" fmla="*/ 2076310 w 2076310"/>
              <a:gd name="connsiteY3" fmla="*/ 805885 h 1003381"/>
              <a:gd name="connsiteX4" fmla="*/ 0 w 2076310"/>
              <a:gd name="connsiteY4" fmla="*/ 805885 h 1003381"/>
              <a:gd name="connsiteX0" fmla="*/ 0 w 2076310"/>
              <a:gd name="connsiteY0" fmla="*/ 805885 h 1008814"/>
              <a:gd name="connsiteX1" fmla="*/ 227045 w 2076310"/>
              <a:gd name="connsiteY1" fmla="*/ 0 h 1008814"/>
              <a:gd name="connsiteX2" fmla="*/ 1861893 w 2076310"/>
              <a:gd name="connsiteY2" fmla="*/ 0 h 1008814"/>
              <a:gd name="connsiteX3" fmla="*/ 2076310 w 2076310"/>
              <a:gd name="connsiteY3" fmla="*/ 805885 h 1008814"/>
              <a:gd name="connsiteX4" fmla="*/ 0 w 2076310"/>
              <a:gd name="connsiteY4" fmla="*/ 805885 h 1008814"/>
              <a:gd name="connsiteX0" fmla="*/ 0 w 2076310"/>
              <a:gd name="connsiteY0" fmla="*/ 805885 h 1008814"/>
              <a:gd name="connsiteX1" fmla="*/ 227045 w 2076310"/>
              <a:gd name="connsiteY1" fmla="*/ 0 h 1008814"/>
              <a:gd name="connsiteX2" fmla="*/ 1861893 w 2076310"/>
              <a:gd name="connsiteY2" fmla="*/ 0 h 1008814"/>
              <a:gd name="connsiteX3" fmla="*/ 2076310 w 2076310"/>
              <a:gd name="connsiteY3" fmla="*/ 805885 h 1008814"/>
              <a:gd name="connsiteX4" fmla="*/ 0 w 2076310"/>
              <a:gd name="connsiteY4" fmla="*/ 805885 h 1008814"/>
              <a:gd name="connsiteX0" fmla="*/ 0 w 2076310"/>
              <a:gd name="connsiteY0" fmla="*/ 805885 h 1008814"/>
              <a:gd name="connsiteX1" fmla="*/ 227045 w 2076310"/>
              <a:gd name="connsiteY1" fmla="*/ 0 h 1008814"/>
              <a:gd name="connsiteX2" fmla="*/ 1861893 w 2076310"/>
              <a:gd name="connsiteY2" fmla="*/ 0 h 1008814"/>
              <a:gd name="connsiteX3" fmla="*/ 2076310 w 2076310"/>
              <a:gd name="connsiteY3" fmla="*/ 805885 h 1008814"/>
              <a:gd name="connsiteX4" fmla="*/ 0 w 2076310"/>
              <a:gd name="connsiteY4" fmla="*/ 805885 h 1008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310" h="1008814">
                <a:moveTo>
                  <a:pt x="0" y="805885"/>
                </a:moveTo>
                <a:lnTo>
                  <a:pt x="227045" y="0"/>
                </a:lnTo>
                <a:cubicBezTo>
                  <a:pt x="667704" y="133093"/>
                  <a:pt x="1406571" y="97579"/>
                  <a:pt x="1861893" y="0"/>
                </a:cubicBezTo>
                <a:lnTo>
                  <a:pt x="2076310" y="805885"/>
                </a:lnTo>
                <a:cubicBezTo>
                  <a:pt x="1425994" y="1059845"/>
                  <a:pt x="571847" y="1092577"/>
                  <a:pt x="0" y="805885"/>
                </a:cubicBezTo>
                <a:close/>
              </a:path>
            </a:pathLst>
          </a:custGeom>
          <a:solidFill>
            <a:schemeClr val="accent2"/>
          </a:solidFill>
          <a:ln>
            <a:solidFill>
              <a:schemeClr val="accent2">
                <a:lumMod val="50000"/>
              </a:schemeClr>
            </a:solidFill>
          </a:ln>
          <a:effectLst>
            <a:outerShdw blurRad="50800" dist="38100" dir="16200000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Isosceles Triangle 7">
            <a:extLst>
              <a:ext uri="{FF2B5EF4-FFF2-40B4-BE49-F238E27FC236}">
                <a16:creationId xmlns:a16="http://schemas.microsoft.com/office/drawing/2014/main" id="{F35E853A-FEE4-43B6-362B-7D893C2DDA8D}"/>
              </a:ext>
            </a:extLst>
          </p:cNvPr>
          <p:cNvSpPr/>
          <p:nvPr/>
        </p:nvSpPr>
        <p:spPr>
          <a:xfrm>
            <a:off x="1804000" y="3348616"/>
            <a:ext cx="3081310" cy="893561"/>
          </a:xfrm>
          <a:custGeom>
            <a:avLst/>
            <a:gdLst>
              <a:gd name="connsiteX0" fmla="*/ 0 w 2187435"/>
              <a:gd name="connsiteY0" fmla="*/ 1397000 h 1397000"/>
              <a:gd name="connsiteX1" fmla="*/ 1093718 w 2187435"/>
              <a:gd name="connsiteY1" fmla="*/ 0 h 1397000"/>
              <a:gd name="connsiteX2" fmla="*/ 2187435 w 2187435"/>
              <a:gd name="connsiteY2" fmla="*/ 1397000 h 1397000"/>
              <a:gd name="connsiteX3" fmla="*/ 0 w 2187435"/>
              <a:gd name="connsiteY3" fmla="*/ 1397000 h 1397000"/>
              <a:gd name="connsiteX0" fmla="*/ 0 w 2139810"/>
              <a:gd name="connsiteY0" fmla="*/ 1397000 h 1397000"/>
              <a:gd name="connsiteX1" fmla="*/ 1093718 w 2139810"/>
              <a:gd name="connsiteY1" fmla="*/ 0 h 1397000"/>
              <a:gd name="connsiteX2" fmla="*/ 2139810 w 2139810"/>
              <a:gd name="connsiteY2" fmla="*/ 1336675 h 1397000"/>
              <a:gd name="connsiteX3" fmla="*/ 0 w 2139810"/>
              <a:gd name="connsiteY3" fmla="*/ 1397000 h 1397000"/>
              <a:gd name="connsiteX0" fmla="*/ 0 w 2079485"/>
              <a:gd name="connsiteY0" fmla="*/ 1343025 h 1343025"/>
              <a:gd name="connsiteX1" fmla="*/ 1033393 w 2079485"/>
              <a:gd name="connsiteY1" fmla="*/ 0 h 1343025"/>
              <a:gd name="connsiteX2" fmla="*/ 2079485 w 2079485"/>
              <a:gd name="connsiteY2" fmla="*/ 1336675 h 1343025"/>
              <a:gd name="connsiteX3" fmla="*/ 0 w 2079485"/>
              <a:gd name="connsiteY3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2076310 w 2076310"/>
              <a:gd name="connsiteY2" fmla="*/ 1343025 h 1343025"/>
              <a:gd name="connsiteX3" fmla="*/ 0 w 2076310"/>
              <a:gd name="connsiteY3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1533829 w 2076310"/>
              <a:gd name="connsiteY2" fmla="*/ 641351 h 1343025"/>
              <a:gd name="connsiteX3" fmla="*/ 2076310 w 2076310"/>
              <a:gd name="connsiteY3" fmla="*/ 1343025 h 1343025"/>
              <a:gd name="connsiteX4" fmla="*/ 0 w 2076310"/>
              <a:gd name="connsiteY4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1683054 w 2076310"/>
              <a:gd name="connsiteY2" fmla="*/ 568326 h 1343025"/>
              <a:gd name="connsiteX3" fmla="*/ 2076310 w 2076310"/>
              <a:gd name="connsiteY3" fmla="*/ 1343025 h 1343025"/>
              <a:gd name="connsiteX4" fmla="*/ 0 w 2076310"/>
              <a:gd name="connsiteY4" fmla="*/ 1343025 h 1343025"/>
              <a:gd name="connsiteX0" fmla="*/ 0 w 2076310"/>
              <a:gd name="connsiteY0" fmla="*/ 1343025 h 1343025"/>
              <a:gd name="connsiteX1" fmla="*/ 559104 w 2076310"/>
              <a:gd name="connsiteY1" fmla="*/ 619126 h 1343025"/>
              <a:gd name="connsiteX2" fmla="*/ 1033393 w 2076310"/>
              <a:gd name="connsiteY2" fmla="*/ 0 h 1343025"/>
              <a:gd name="connsiteX3" fmla="*/ 1683054 w 2076310"/>
              <a:gd name="connsiteY3" fmla="*/ 568326 h 1343025"/>
              <a:gd name="connsiteX4" fmla="*/ 2076310 w 2076310"/>
              <a:gd name="connsiteY4" fmla="*/ 1343025 h 1343025"/>
              <a:gd name="connsiteX5" fmla="*/ 0 w 2076310"/>
              <a:gd name="connsiteY5" fmla="*/ 1343025 h 1343025"/>
              <a:gd name="connsiteX0" fmla="*/ 0 w 2076310"/>
              <a:gd name="connsiteY0" fmla="*/ 1343025 h 1343025"/>
              <a:gd name="connsiteX1" fmla="*/ 384479 w 2076310"/>
              <a:gd name="connsiteY1" fmla="*/ 577851 h 1343025"/>
              <a:gd name="connsiteX2" fmla="*/ 1033393 w 2076310"/>
              <a:gd name="connsiteY2" fmla="*/ 0 h 1343025"/>
              <a:gd name="connsiteX3" fmla="*/ 1683054 w 2076310"/>
              <a:gd name="connsiteY3" fmla="*/ 568326 h 1343025"/>
              <a:gd name="connsiteX4" fmla="*/ 2076310 w 2076310"/>
              <a:gd name="connsiteY4" fmla="*/ 1343025 h 1343025"/>
              <a:gd name="connsiteX5" fmla="*/ 0 w 2076310"/>
              <a:gd name="connsiteY5" fmla="*/ 1343025 h 1343025"/>
              <a:gd name="connsiteX0" fmla="*/ 0 w 2076310"/>
              <a:gd name="connsiteY0" fmla="*/ 774699 h 774699"/>
              <a:gd name="connsiteX1" fmla="*/ 384479 w 2076310"/>
              <a:gd name="connsiteY1" fmla="*/ 9525 h 774699"/>
              <a:gd name="connsiteX2" fmla="*/ 1683054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3175 h 774699"/>
              <a:gd name="connsiteX2" fmla="*/ 1683054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87399 h 787399"/>
              <a:gd name="connsiteX1" fmla="*/ 330504 w 2076310"/>
              <a:gd name="connsiteY1" fmla="*/ 15875 h 787399"/>
              <a:gd name="connsiteX2" fmla="*/ 1730679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84224 h 784224"/>
              <a:gd name="connsiteX1" fmla="*/ 330504 w 2076310"/>
              <a:gd name="connsiteY1" fmla="*/ 12700 h 784224"/>
              <a:gd name="connsiteX2" fmla="*/ 1733854 w 2076310"/>
              <a:gd name="connsiteY2" fmla="*/ 0 h 784224"/>
              <a:gd name="connsiteX3" fmla="*/ 2076310 w 2076310"/>
              <a:gd name="connsiteY3" fmla="*/ 784224 h 784224"/>
              <a:gd name="connsiteX4" fmla="*/ 0 w 2076310"/>
              <a:gd name="connsiteY4" fmla="*/ 784224 h 784224"/>
              <a:gd name="connsiteX0" fmla="*/ 0 w 2076310"/>
              <a:gd name="connsiteY0" fmla="*/ 787399 h 787399"/>
              <a:gd name="connsiteX1" fmla="*/ 330504 w 2076310"/>
              <a:gd name="connsiteY1" fmla="*/ 15875 h 787399"/>
              <a:gd name="connsiteX2" fmla="*/ 1733854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87399 h 787399"/>
              <a:gd name="connsiteX1" fmla="*/ 330504 w 2076310"/>
              <a:gd name="connsiteY1" fmla="*/ 6350 h 787399"/>
              <a:gd name="connsiteX2" fmla="*/ 1733854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90574 h 790574"/>
              <a:gd name="connsiteX1" fmla="*/ 330504 w 2076310"/>
              <a:gd name="connsiteY1" fmla="*/ 9525 h 790574"/>
              <a:gd name="connsiteX2" fmla="*/ 1733854 w 2076310"/>
              <a:gd name="connsiteY2" fmla="*/ 0 h 790574"/>
              <a:gd name="connsiteX3" fmla="*/ 2076310 w 2076310"/>
              <a:gd name="connsiteY3" fmla="*/ 790574 h 790574"/>
              <a:gd name="connsiteX4" fmla="*/ 0 w 2076310"/>
              <a:gd name="connsiteY4" fmla="*/ 790574 h 790574"/>
              <a:gd name="connsiteX0" fmla="*/ 0 w 2076310"/>
              <a:gd name="connsiteY0" fmla="*/ 790574 h 790574"/>
              <a:gd name="connsiteX1" fmla="*/ 330504 w 2076310"/>
              <a:gd name="connsiteY1" fmla="*/ 15875 h 790574"/>
              <a:gd name="connsiteX2" fmla="*/ 1733854 w 2076310"/>
              <a:gd name="connsiteY2" fmla="*/ 0 h 790574"/>
              <a:gd name="connsiteX3" fmla="*/ 2076310 w 2076310"/>
              <a:gd name="connsiteY3" fmla="*/ 790574 h 790574"/>
              <a:gd name="connsiteX4" fmla="*/ 0 w 2076310"/>
              <a:gd name="connsiteY4" fmla="*/ 790574 h 790574"/>
              <a:gd name="connsiteX0" fmla="*/ 0 w 2076310"/>
              <a:gd name="connsiteY0" fmla="*/ 781049 h 781049"/>
              <a:gd name="connsiteX1" fmla="*/ 330504 w 2076310"/>
              <a:gd name="connsiteY1" fmla="*/ 6350 h 781049"/>
              <a:gd name="connsiteX2" fmla="*/ 1733854 w 2076310"/>
              <a:gd name="connsiteY2" fmla="*/ 0 h 781049"/>
              <a:gd name="connsiteX3" fmla="*/ 2076310 w 2076310"/>
              <a:gd name="connsiteY3" fmla="*/ 781049 h 781049"/>
              <a:gd name="connsiteX4" fmla="*/ 0 w 2076310"/>
              <a:gd name="connsiteY4" fmla="*/ 781049 h 78104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821265"/>
              <a:gd name="connsiteX1" fmla="*/ 330504 w 2076310"/>
              <a:gd name="connsiteY1" fmla="*/ 0 h 821265"/>
              <a:gd name="connsiteX2" fmla="*/ 1737029 w 2076310"/>
              <a:gd name="connsiteY2" fmla="*/ 0 h 821265"/>
              <a:gd name="connsiteX3" fmla="*/ 2076310 w 2076310"/>
              <a:gd name="connsiteY3" fmla="*/ 774699 h 821265"/>
              <a:gd name="connsiteX4" fmla="*/ 0 w 2076310"/>
              <a:gd name="connsiteY4" fmla="*/ 774699 h 821265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74699 h 855076"/>
              <a:gd name="connsiteX1" fmla="*/ 330504 w 2076310"/>
              <a:gd name="connsiteY1" fmla="*/ 0 h 855076"/>
              <a:gd name="connsiteX2" fmla="*/ 1737029 w 2076310"/>
              <a:gd name="connsiteY2" fmla="*/ 0 h 855076"/>
              <a:gd name="connsiteX3" fmla="*/ 2076310 w 2076310"/>
              <a:gd name="connsiteY3" fmla="*/ 774699 h 855076"/>
              <a:gd name="connsiteX4" fmla="*/ 0 w 2076310"/>
              <a:gd name="connsiteY4" fmla="*/ 774699 h 855076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3321"/>
              <a:gd name="connsiteX1" fmla="*/ 330504 w 2076310"/>
              <a:gd name="connsiteY1" fmla="*/ 0 h 853321"/>
              <a:gd name="connsiteX2" fmla="*/ 1737029 w 2076310"/>
              <a:gd name="connsiteY2" fmla="*/ 0 h 853321"/>
              <a:gd name="connsiteX3" fmla="*/ 2076310 w 2076310"/>
              <a:gd name="connsiteY3" fmla="*/ 774699 h 853321"/>
              <a:gd name="connsiteX4" fmla="*/ 0 w 2076310"/>
              <a:gd name="connsiteY4" fmla="*/ 774699 h 853321"/>
              <a:gd name="connsiteX0" fmla="*/ 0 w 2076310"/>
              <a:gd name="connsiteY0" fmla="*/ 774699 h 853321"/>
              <a:gd name="connsiteX1" fmla="*/ 330504 w 2076310"/>
              <a:gd name="connsiteY1" fmla="*/ 0 h 853321"/>
              <a:gd name="connsiteX2" fmla="*/ 1737029 w 2076310"/>
              <a:gd name="connsiteY2" fmla="*/ 0 h 853321"/>
              <a:gd name="connsiteX3" fmla="*/ 2076310 w 2076310"/>
              <a:gd name="connsiteY3" fmla="*/ 774699 h 853321"/>
              <a:gd name="connsiteX4" fmla="*/ 0 w 2076310"/>
              <a:gd name="connsiteY4" fmla="*/ 774699 h 853321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8647"/>
              <a:gd name="connsiteX1" fmla="*/ 330504 w 2076310"/>
              <a:gd name="connsiteY1" fmla="*/ 0 h 858647"/>
              <a:gd name="connsiteX2" fmla="*/ 1737029 w 2076310"/>
              <a:gd name="connsiteY2" fmla="*/ 0 h 858647"/>
              <a:gd name="connsiteX3" fmla="*/ 2076310 w 2076310"/>
              <a:gd name="connsiteY3" fmla="*/ 774699 h 858647"/>
              <a:gd name="connsiteX4" fmla="*/ 0 w 2076310"/>
              <a:gd name="connsiteY4" fmla="*/ 774699 h 858647"/>
              <a:gd name="connsiteX0" fmla="*/ 0 w 2076310"/>
              <a:gd name="connsiteY0" fmla="*/ 774699 h 856891"/>
              <a:gd name="connsiteX1" fmla="*/ 330504 w 2076310"/>
              <a:gd name="connsiteY1" fmla="*/ 0 h 856891"/>
              <a:gd name="connsiteX2" fmla="*/ 1737029 w 2076310"/>
              <a:gd name="connsiteY2" fmla="*/ 0 h 856891"/>
              <a:gd name="connsiteX3" fmla="*/ 2076310 w 2076310"/>
              <a:gd name="connsiteY3" fmla="*/ 774699 h 856891"/>
              <a:gd name="connsiteX4" fmla="*/ 0 w 2076310"/>
              <a:gd name="connsiteY4" fmla="*/ 774699 h 856891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805885 h 884466"/>
              <a:gd name="connsiteX1" fmla="*/ 330504 w 2076310"/>
              <a:gd name="connsiteY1" fmla="*/ 31186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11082 h 889663"/>
              <a:gd name="connsiteX1" fmla="*/ 234180 w 2076310"/>
              <a:gd name="connsiteY1" fmla="*/ 0 h 889663"/>
              <a:gd name="connsiteX2" fmla="*/ 1861893 w 2076310"/>
              <a:gd name="connsiteY2" fmla="*/ 5197 h 889663"/>
              <a:gd name="connsiteX3" fmla="*/ 2076310 w 2076310"/>
              <a:gd name="connsiteY3" fmla="*/ 811082 h 889663"/>
              <a:gd name="connsiteX4" fmla="*/ 0 w 2076310"/>
              <a:gd name="connsiteY4" fmla="*/ 811082 h 889663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955421"/>
              <a:gd name="connsiteX1" fmla="*/ 227045 w 2076310"/>
              <a:gd name="connsiteY1" fmla="*/ 0 h 955421"/>
              <a:gd name="connsiteX2" fmla="*/ 1861893 w 2076310"/>
              <a:gd name="connsiteY2" fmla="*/ 0 h 955421"/>
              <a:gd name="connsiteX3" fmla="*/ 2076310 w 2076310"/>
              <a:gd name="connsiteY3" fmla="*/ 805885 h 955421"/>
              <a:gd name="connsiteX4" fmla="*/ 0 w 2076310"/>
              <a:gd name="connsiteY4" fmla="*/ 805885 h 955421"/>
              <a:gd name="connsiteX0" fmla="*/ 0 w 2076310"/>
              <a:gd name="connsiteY0" fmla="*/ 805885 h 988643"/>
              <a:gd name="connsiteX1" fmla="*/ 227045 w 2076310"/>
              <a:gd name="connsiteY1" fmla="*/ 0 h 988643"/>
              <a:gd name="connsiteX2" fmla="*/ 1861893 w 2076310"/>
              <a:gd name="connsiteY2" fmla="*/ 0 h 988643"/>
              <a:gd name="connsiteX3" fmla="*/ 2076310 w 2076310"/>
              <a:gd name="connsiteY3" fmla="*/ 805885 h 988643"/>
              <a:gd name="connsiteX4" fmla="*/ 0 w 2076310"/>
              <a:gd name="connsiteY4" fmla="*/ 805885 h 988643"/>
              <a:gd name="connsiteX0" fmla="*/ 0 w 2076310"/>
              <a:gd name="connsiteY0" fmla="*/ 805885 h 992804"/>
              <a:gd name="connsiteX1" fmla="*/ 227045 w 2076310"/>
              <a:gd name="connsiteY1" fmla="*/ 0 h 992804"/>
              <a:gd name="connsiteX2" fmla="*/ 1861893 w 2076310"/>
              <a:gd name="connsiteY2" fmla="*/ 0 h 992804"/>
              <a:gd name="connsiteX3" fmla="*/ 2076310 w 2076310"/>
              <a:gd name="connsiteY3" fmla="*/ 805885 h 992804"/>
              <a:gd name="connsiteX4" fmla="*/ 0 w 2076310"/>
              <a:gd name="connsiteY4" fmla="*/ 805885 h 992804"/>
              <a:gd name="connsiteX0" fmla="*/ 0 w 2076310"/>
              <a:gd name="connsiteY0" fmla="*/ 819745 h 1006664"/>
              <a:gd name="connsiteX1" fmla="*/ 227045 w 2076310"/>
              <a:gd name="connsiteY1" fmla="*/ 13860 h 1006664"/>
              <a:gd name="connsiteX2" fmla="*/ 1899507 w 2076310"/>
              <a:gd name="connsiteY2" fmla="*/ 0 h 1006664"/>
              <a:gd name="connsiteX3" fmla="*/ 2076310 w 2076310"/>
              <a:gd name="connsiteY3" fmla="*/ 819745 h 1006664"/>
              <a:gd name="connsiteX4" fmla="*/ 0 w 2076310"/>
              <a:gd name="connsiteY4" fmla="*/ 819745 h 1006664"/>
              <a:gd name="connsiteX0" fmla="*/ 0 w 2076310"/>
              <a:gd name="connsiteY0" fmla="*/ 819745 h 1006664"/>
              <a:gd name="connsiteX1" fmla="*/ 178146 w 2076310"/>
              <a:gd name="connsiteY1" fmla="*/ 27721 h 1006664"/>
              <a:gd name="connsiteX2" fmla="*/ 1899507 w 2076310"/>
              <a:gd name="connsiteY2" fmla="*/ 0 h 1006664"/>
              <a:gd name="connsiteX3" fmla="*/ 2076310 w 2076310"/>
              <a:gd name="connsiteY3" fmla="*/ 819745 h 1006664"/>
              <a:gd name="connsiteX4" fmla="*/ 0 w 2076310"/>
              <a:gd name="connsiteY4" fmla="*/ 819745 h 1006664"/>
              <a:gd name="connsiteX0" fmla="*/ 0 w 2076310"/>
              <a:gd name="connsiteY0" fmla="*/ 819745 h 1006664"/>
              <a:gd name="connsiteX1" fmla="*/ 178146 w 2076310"/>
              <a:gd name="connsiteY1" fmla="*/ 27721 h 1006664"/>
              <a:gd name="connsiteX2" fmla="*/ 1903269 w 2076310"/>
              <a:gd name="connsiteY2" fmla="*/ 0 h 1006664"/>
              <a:gd name="connsiteX3" fmla="*/ 2076310 w 2076310"/>
              <a:gd name="connsiteY3" fmla="*/ 819745 h 1006664"/>
              <a:gd name="connsiteX4" fmla="*/ 0 w 2076310"/>
              <a:gd name="connsiteY4" fmla="*/ 819745 h 1006664"/>
              <a:gd name="connsiteX0" fmla="*/ 0 w 2076310"/>
              <a:gd name="connsiteY0" fmla="*/ 819745 h 1040769"/>
              <a:gd name="connsiteX1" fmla="*/ 178146 w 2076310"/>
              <a:gd name="connsiteY1" fmla="*/ 27721 h 1040769"/>
              <a:gd name="connsiteX2" fmla="*/ 1903269 w 2076310"/>
              <a:gd name="connsiteY2" fmla="*/ 0 h 1040769"/>
              <a:gd name="connsiteX3" fmla="*/ 2076310 w 2076310"/>
              <a:gd name="connsiteY3" fmla="*/ 819745 h 1040769"/>
              <a:gd name="connsiteX4" fmla="*/ 0 w 2076310"/>
              <a:gd name="connsiteY4" fmla="*/ 819745 h 1040769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792024 h 1085686"/>
              <a:gd name="connsiteX1" fmla="*/ 178146 w 2076310"/>
              <a:gd name="connsiteY1" fmla="*/ 27721 h 1085686"/>
              <a:gd name="connsiteX2" fmla="*/ 1903269 w 2076310"/>
              <a:gd name="connsiteY2" fmla="*/ 0 h 1085686"/>
              <a:gd name="connsiteX3" fmla="*/ 2076310 w 2076310"/>
              <a:gd name="connsiteY3" fmla="*/ 819745 h 1085686"/>
              <a:gd name="connsiteX4" fmla="*/ 0 w 2076310"/>
              <a:gd name="connsiteY4" fmla="*/ 792024 h 1085686"/>
              <a:gd name="connsiteX0" fmla="*/ 0 w 2076310"/>
              <a:gd name="connsiteY0" fmla="*/ 792024 h 1085686"/>
              <a:gd name="connsiteX1" fmla="*/ 185669 w 2076310"/>
              <a:gd name="connsiteY1" fmla="*/ 27721 h 1085686"/>
              <a:gd name="connsiteX2" fmla="*/ 1903269 w 2076310"/>
              <a:gd name="connsiteY2" fmla="*/ 0 h 1085686"/>
              <a:gd name="connsiteX3" fmla="*/ 2076310 w 2076310"/>
              <a:gd name="connsiteY3" fmla="*/ 819745 h 1085686"/>
              <a:gd name="connsiteX4" fmla="*/ 0 w 2076310"/>
              <a:gd name="connsiteY4" fmla="*/ 792024 h 1085686"/>
              <a:gd name="connsiteX0" fmla="*/ 0 w 2076310"/>
              <a:gd name="connsiteY0" fmla="*/ 792024 h 1085686"/>
              <a:gd name="connsiteX1" fmla="*/ 178146 w 2076310"/>
              <a:gd name="connsiteY1" fmla="*/ 20791 h 1085686"/>
              <a:gd name="connsiteX2" fmla="*/ 1903269 w 2076310"/>
              <a:gd name="connsiteY2" fmla="*/ 0 h 1085686"/>
              <a:gd name="connsiteX3" fmla="*/ 2076310 w 2076310"/>
              <a:gd name="connsiteY3" fmla="*/ 819745 h 1085686"/>
              <a:gd name="connsiteX4" fmla="*/ 0 w 2076310"/>
              <a:gd name="connsiteY4" fmla="*/ 792024 h 1085686"/>
              <a:gd name="connsiteX0" fmla="*/ 0 w 2076310"/>
              <a:gd name="connsiteY0" fmla="*/ 792024 h 1090692"/>
              <a:gd name="connsiteX1" fmla="*/ 178146 w 2076310"/>
              <a:gd name="connsiteY1" fmla="*/ 20791 h 1090692"/>
              <a:gd name="connsiteX2" fmla="*/ 1903269 w 2076310"/>
              <a:gd name="connsiteY2" fmla="*/ 0 h 1090692"/>
              <a:gd name="connsiteX3" fmla="*/ 2076310 w 2076310"/>
              <a:gd name="connsiteY3" fmla="*/ 819745 h 1090692"/>
              <a:gd name="connsiteX4" fmla="*/ 0 w 2076310"/>
              <a:gd name="connsiteY4" fmla="*/ 792024 h 1090692"/>
              <a:gd name="connsiteX0" fmla="*/ 0 w 2076310"/>
              <a:gd name="connsiteY0" fmla="*/ 792024 h 1083536"/>
              <a:gd name="connsiteX1" fmla="*/ 178146 w 2076310"/>
              <a:gd name="connsiteY1" fmla="*/ 20791 h 1083536"/>
              <a:gd name="connsiteX2" fmla="*/ 1903269 w 2076310"/>
              <a:gd name="connsiteY2" fmla="*/ 0 h 1083536"/>
              <a:gd name="connsiteX3" fmla="*/ 2076310 w 2076310"/>
              <a:gd name="connsiteY3" fmla="*/ 805884 h 1083536"/>
              <a:gd name="connsiteX4" fmla="*/ 0 w 2076310"/>
              <a:gd name="connsiteY4" fmla="*/ 792024 h 1083536"/>
              <a:gd name="connsiteX0" fmla="*/ 0 w 2076310"/>
              <a:gd name="connsiteY0" fmla="*/ 792024 h 1099514"/>
              <a:gd name="connsiteX1" fmla="*/ 178146 w 2076310"/>
              <a:gd name="connsiteY1" fmla="*/ 20791 h 1099514"/>
              <a:gd name="connsiteX2" fmla="*/ 1903269 w 2076310"/>
              <a:gd name="connsiteY2" fmla="*/ 0 h 1099514"/>
              <a:gd name="connsiteX3" fmla="*/ 2076310 w 2076310"/>
              <a:gd name="connsiteY3" fmla="*/ 805884 h 1099514"/>
              <a:gd name="connsiteX4" fmla="*/ 0 w 2076310"/>
              <a:gd name="connsiteY4" fmla="*/ 792024 h 1099514"/>
              <a:gd name="connsiteX0" fmla="*/ 0 w 2076310"/>
              <a:gd name="connsiteY0" fmla="*/ 792024 h 1099514"/>
              <a:gd name="connsiteX1" fmla="*/ 178146 w 2076310"/>
              <a:gd name="connsiteY1" fmla="*/ 20791 h 1099514"/>
              <a:gd name="connsiteX2" fmla="*/ 1903269 w 2076310"/>
              <a:gd name="connsiteY2" fmla="*/ 0 h 1099514"/>
              <a:gd name="connsiteX3" fmla="*/ 2076310 w 2076310"/>
              <a:gd name="connsiteY3" fmla="*/ 805884 h 1099514"/>
              <a:gd name="connsiteX4" fmla="*/ 0 w 2076310"/>
              <a:gd name="connsiteY4" fmla="*/ 792024 h 1099514"/>
              <a:gd name="connsiteX0" fmla="*/ 0 w 2076310"/>
              <a:gd name="connsiteY0" fmla="*/ 792024 h 1099514"/>
              <a:gd name="connsiteX1" fmla="*/ 180874 w 2076310"/>
              <a:gd name="connsiteY1" fmla="*/ 15766 h 1099514"/>
              <a:gd name="connsiteX2" fmla="*/ 1903269 w 2076310"/>
              <a:gd name="connsiteY2" fmla="*/ 0 h 1099514"/>
              <a:gd name="connsiteX3" fmla="*/ 2076310 w 2076310"/>
              <a:gd name="connsiteY3" fmla="*/ 805884 h 1099514"/>
              <a:gd name="connsiteX4" fmla="*/ 0 w 2076310"/>
              <a:gd name="connsiteY4" fmla="*/ 792024 h 1099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6310" h="1099514">
                <a:moveTo>
                  <a:pt x="0" y="792024"/>
                </a:moveTo>
                <a:lnTo>
                  <a:pt x="180874" y="15766"/>
                </a:lnTo>
                <a:cubicBezTo>
                  <a:pt x="662909" y="315184"/>
                  <a:pt x="1462993" y="277764"/>
                  <a:pt x="1903269" y="0"/>
                </a:cubicBezTo>
                <a:lnTo>
                  <a:pt x="2076310" y="805884"/>
                </a:lnTo>
                <a:cubicBezTo>
                  <a:pt x="1297794" y="1222518"/>
                  <a:pt x="620746" y="1175738"/>
                  <a:pt x="0" y="792024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>
                <a:lumMod val="50000"/>
              </a:schemeClr>
            </a:solidFill>
          </a:ln>
          <a:effectLst>
            <a:outerShdw blurRad="50800" dist="38100" dir="16200000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" name="Isosceles Triangle 7">
            <a:extLst>
              <a:ext uri="{FF2B5EF4-FFF2-40B4-BE49-F238E27FC236}">
                <a16:creationId xmlns:a16="http://schemas.microsoft.com/office/drawing/2014/main" id="{51B20619-88E8-E9AD-C759-B146D638BC77}"/>
              </a:ext>
            </a:extLst>
          </p:cNvPr>
          <p:cNvSpPr/>
          <p:nvPr/>
        </p:nvSpPr>
        <p:spPr>
          <a:xfrm>
            <a:off x="1600200" y="3959222"/>
            <a:ext cx="3492960" cy="1026648"/>
          </a:xfrm>
          <a:custGeom>
            <a:avLst/>
            <a:gdLst>
              <a:gd name="connsiteX0" fmla="*/ 0 w 2187435"/>
              <a:gd name="connsiteY0" fmla="*/ 1397000 h 1397000"/>
              <a:gd name="connsiteX1" fmla="*/ 1093718 w 2187435"/>
              <a:gd name="connsiteY1" fmla="*/ 0 h 1397000"/>
              <a:gd name="connsiteX2" fmla="*/ 2187435 w 2187435"/>
              <a:gd name="connsiteY2" fmla="*/ 1397000 h 1397000"/>
              <a:gd name="connsiteX3" fmla="*/ 0 w 2187435"/>
              <a:gd name="connsiteY3" fmla="*/ 1397000 h 1397000"/>
              <a:gd name="connsiteX0" fmla="*/ 0 w 2139810"/>
              <a:gd name="connsiteY0" fmla="*/ 1397000 h 1397000"/>
              <a:gd name="connsiteX1" fmla="*/ 1093718 w 2139810"/>
              <a:gd name="connsiteY1" fmla="*/ 0 h 1397000"/>
              <a:gd name="connsiteX2" fmla="*/ 2139810 w 2139810"/>
              <a:gd name="connsiteY2" fmla="*/ 1336675 h 1397000"/>
              <a:gd name="connsiteX3" fmla="*/ 0 w 2139810"/>
              <a:gd name="connsiteY3" fmla="*/ 1397000 h 1397000"/>
              <a:gd name="connsiteX0" fmla="*/ 0 w 2079485"/>
              <a:gd name="connsiteY0" fmla="*/ 1343025 h 1343025"/>
              <a:gd name="connsiteX1" fmla="*/ 1033393 w 2079485"/>
              <a:gd name="connsiteY1" fmla="*/ 0 h 1343025"/>
              <a:gd name="connsiteX2" fmla="*/ 2079485 w 2079485"/>
              <a:gd name="connsiteY2" fmla="*/ 1336675 h 1343025"/>
              <a:gd name="connsiteX3" fmla="*/ 0 w 2079485"/>
              <a:gd name="connsiteY3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2076310 w 2076310"/>
              <a:gd name="connsiteY2" fmla="*/ 1343025 h 1343025"/>
              <a:gd name="connsiteX3" fmla="*/ 0 w 2076310"/>
              <a:gd name="connsiteY3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1533829 w 2076310"/>
              <a:gd name="connsiteY2" fmla="*/ 641351 h 1343025"/>
              <a:gd name="connsiteX3" fmla="*/ 2076310 w 2076310"/>
              <a:gd name="connsiteY3" fmla="*/ 1343025 h 1343025"/>
              <a:gd name="connsiteX4" fmla="*/ 0 w 2076310"/>
              <a:gd name="connsiteY4" fmla="*/ 1343025 h 1343025"/>
              <a:gd name="connsiteX0" fmla="*/ 0 w 2076310"/>
              <a:gd name="connsiteY0" fmla="*/ 1343025 h 1343025"/>
              <a:gd name="connsiteX1" fmla="*/ 1033393 w 2076310"/>
              <a:gd name="connsiteY1" fmla="*/ 0 h 1343025"/>
              <a:gd name="connsiteX2" fmla="*/ 1683054 w 2076310"/>
              <a:gd name="connsiteY2" fmla="*/ 568326 h 1343025"/>
              <a:gd name="connsiteX3" fmla="*/ 2076310 w 2076310"/>
              <a:gd name="connsiteY3" fmla="*/ 1343025 h 1343025"/>
              <a:gd name="connsiteX4" fmla="*/ 0 w 2076310"/>
              <a:gd name="connsiteY4" fmla="*/ 1343025 h 1343025"/>
              <a:gd name="connsiteX0" fmla="*/ 0 w 2076310"/>
              <a:gd name="connsiteY0" fmla="*/ 1343025 h 1343025"/>
              <a:gd name="connsiteX1" fmla="*/ 559104 w 2076310"/>
              <a:gd name="connsiteY1" fmla="*/ 619126 h 1343025"/>
              <a:gd name="connsiteX2" fmla="*/ 1033393 w 2076310"/>
              <a:gd name="connsiteY2" fmla="*/ 0 h 1343025"/>
              <a:gd name="connsiteX3" fmla="*/ 1683054 w 2076310"/>
              <a:gd name="connsiteY3" fmla="*/ 568326 h 1343025"/>
              <a:gd name="connsiteX4" fmla="*/ 2076310 w 2076310"/>
              <a:gd name="connsiteY4" fmla="*/ 1343025 h 1343025"/>
              <a:gd name="connsiteX5" fmla="*/ 0 w 2076310"/>
              <a:gd name="connsiteY5" fmla="*/ 1343025 h 1343025"/>
              <a:gd name="connsiteX0" fmla="*/ 0 w 2076310"/>
              <a:gd name="connsiteY0" fmla="*/ 1343025 h 1343025"/>
              <a:gd name="connsiteX1" fmla="*/ 384479 w 2076310"/>
              <a:gd name="connsiteY1" fmla="*/ 577851 h 1343025"/>
              <a:gd name="connsiteX2" fmla="*/ 1033393 w 2076310"/>
              <a:gd name="connsiteY2" fmla="*/ 0 h 1343025"/>
              <a:gd name="connsiteX3" fmla="*/ 1683054 w 2076310"/>
              <a:gd name="connsiteY3" fmla="*/ 568326 h 1343025"/>
              <a:gd name="connsiteX4" fmla="*/ 2076310 w 2076310"/>
              <a:gd name="connsiteY4" fmla="*/ 1343025 h 1343025"/>
              <a:gd name="connsiteX5" fmla="*/ 0 w 2076310"/>
              <a:gd name="connsiteY5" fmla="*/ 1343025 h 1343025"/>
              <a:gd name="connsiteX0" fmla="*/ 0 w 2076310"/>
              <a:gd name="connsiteY0" fmla="*/ 774699 h 774699"/>
              <a:gd name="connsiteX1" fmla="*/ 384479 w 2076310"/>
              <a:gd name="connsiteY1" fmla="*/ 9525 h 774699"/>
              <a:gd name="connsiteX2" fmla="*/ 1683054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3175 h 774699"/>
              <a:gd name="connsiteX2" fmla="*/ 1683054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87399 h 787399"/>
              <a:gd name="connsiteX1" fmla="*/ 330504 w 2076310"/>
              <a:gd name="connsiteY1" fmla="*/ 15875 h 787399"/>
              <a:gd name="connsiteX2" fmla="*/ 1730679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84224 h 784224"/>
              <a:gd name="connsiteX1" fmla="*/ 330504 w 2076310"/>
              <a:gd name="connsiteY1" fmla="*/ 12700 h 784224"/>
              <a:gd name="connsiteX2" fmla="*/ 1733854 w 2076310"/>
              <a:gd name="connsiteY2" fmla="*/ 0 h 784224"/>
              <a:gd name="connsiteX3" fmla="*/ 2076310 w 2076310"/>
              <a:gd name="connsiteY3" fmla="*/ 784224 h 784224"/>
              <a:gd name="connsiteX4" fmla="*/ 0 w 2076310"/>
              <a:gd name="connsiteY4" fmla="*/ 784224 h 784224"/>
              <a:gd name="connsiteX0" fmla="*/ 0 w 2076310"/>
              <a:gd name="connsiteY0" fmla="*/ 787399 h 787399"/>
              <a:gd name="connsiteX1" fmla="*/ 330504 w 2076310"/>
              <a:gd name="connsiteY1" fmla="*/ 15875 h 787399"/>
              <a:gd name="connsiteX2" fmla="*/ 1733854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87399 h 787399"/>
              <a:gd name="connsiteX1" fmla="*/ 330504 w 2076310"/>
              <a:gd name="connsiteY1" fmla="*/ 6350 h 787399"/>
              <a:gd name="connsiteX2" fmla="*/ 1733854 w 2076310"/>
              <a:gd name="connsiteY2" fmla="*/ 0 h 787399"/>
              <a:gd name="connsiteX3" fmla="*/ 2076310 w 2076310"/>
              <a:gd name="connsiteY3" fmla="*/ 787399 h 787399"/>
              <a:gd name="connsiteX4" fmla="*/ 0 w 2076310"/>
              <a:gd name="connsiteY4" fmla="*/ 787399 h 787399"/>
              <a:gd name="connsiteX0" fmla="*/ 0 w 2076310"/>
              <a:gd name="connsiteY0" fmla="*/ 790574 h 790574"/>
              <a:gd name="connsiteX1" fmla="*/ 330504 w 2076310"/>
              <a:gd name="connsiteY1" fmla="*/ 9525 h 790574"/>
              <a:gd name="connsiteX2" fmla="*/ 1733854 w 2076310"/>
              <a:gd name="connsiteY2" fmla="*/ 0 h 790574"/>
              <a:gd name="connsiteX3" fmla="*/ 2076310 w 2076310"/>
              <a:gd name="connsiteY3" fmla="*/ 790574 h 790574"/>
              <a:gd name="connsiteX4" fmla="*/ 0 w 2076310"/>
              <a:gd name="connsiteY4" fmla="*/ 790574 h 790574"/>
              <a:gd name="connsiteX0" fmla="*/ 0 w 2076310"/>
              <a:gd name="connsiteY0" fmla="*/ 790574 h 790574"/>
              <a:gd name="connsiteX1" fmla="*/ 330504 w 2076310"/>
              <a:gd name="connsiteY1" fmla="*/ 15875 h 790574"/>
              <a:gd name="connsiteX2" fmla="*/ 1733854 w 2076310"/>
              <a:gd name="connsiteY2" fmla="*/ 0 h 790574"/>
              <a:gd name="connsiteX3" fmla="*/ 2076310 w 2076310"/>
              <a:gd name="connsiteY3" fmla="*/ 790574 h 790574"/>
              <a:gd name="connsiteX4" fmla="*/ 0 w 2076310"/>
              <a:gd name="connsiteY4" fmla="*/ 790574 h 790574"/>
              <a:gd name="connsiteX0" fmla="*/ 0 w 2076310"/>
              <a:gd name="connsiteY0" fmla="*/ 781049 h 781049"/>
              <a:gd name="connsiteX1" fmla="*/ 330504 w 2076310"/>
              <a:gd name="connsiteY1" fmla="*/ 6350 h 781049"/>
              <a:gd name="connsiteX2" fmla="*/ 1733854 w 2076310"/>
              <a:gd name="connsiteY2" fmla="*/ 0 h 781049"/>
              <a:gd name="connsiteX3" fmla="*/ 2076310 w 2076310"/>
              <a:gd name="connsiteY3" fmla="*/ 781049 h 781049"/>
              <a:gd name="connsiteX4" fmla="*/ 0 w 2076310"/>
              <a:gd name="connsiteY4" fmla="*/ 781049 h 78104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774699"/>
              <a:gd name="connsiteX1" fmla="*/ 330504 w 2076310"/>
              <a:gd name="connsiteY1" fmla="*/ 0 h 774699"/>
              <a:gd name="connsiteX2" fmla="*/ 1737029 w 2076310"/>
              <a:gd name="connsiteY2" fmla="*/ 0 h 774699"/>
              <a:gd name="connsiteX3" fmla="*/ 2076310 w 2076310"/>
              <a:gd name="connsiteY3" fmla="*/ 774699 h 774699"/>
              <a:gd name="connsiteX4" fmla="*/ 0 w 2076310"/>
              <a:gd name="connsiteY4" fmla="*/ 774699 h 774699"/>
              <a:gd name="connsiteX0" fmla="*/ 0 w 2076310"/>
              <a:gd name="connsiteY0" fmla="*/ 774699 h 821265"/>
              <a:gd name="connsiteX1" fmla="*/ 330504 w 2076310"/>
              <a:gd name="connsiteY1" fmla="*/ 0 h 821265"/>
              <a:gd name="connsiteX2" fmla="*/ 1737029 w 2076310"/>
              <a:gd name="connsiteY2" fmla="*/ 0 h 821265"/>
              <a:gd name="connsiteX3" fmla="*/ 2076310 w 2076310"/>
              <a:gd name="connsiteY3" fmla="*/ 774699 h 821265"/>
              <a:gd name="connsiteX4" fmla="*/ 0 w 2076310"/>
              <a:gd name="connsiteY4" fmla="*/ 774699 h 821265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74699 h 855076"/>
              <a:gd name="connsiteX1" fmla="*/ 330504 w 2076310"/>
              <a:gd name="connsiteY1" fmla="*/ 0 h 855076"/>
              <a:gd name="connsiteX2" fmla="*/ 1737029 w 2076310"/>
              <a:gd name="connsiteY2" fmla="*/ 0 h 855076"/>
              <a:gd name="connsiteX3" fmla="*/ 2076310 w 2076310"/>
              <a:gd name="connsiteY3" fmla="*/ 774699 h 855076"/>
              <a:gd name="connsiteX4" fmla="*/ 0 w 2076310"/>
              <a:gd name="connsiteY4" fmla="*/ 774699 h 855076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3321"/>
              <a:gd name="connsiteX1" fmla="*/ 330504 w 2076310"/>
              <a:gd name="connsiteY1" fmla="*/ 0 h 853321"/>
              <a:gd name="connsiteX2" fmla="*/ 1737029 w 2076310"/>
              <a:gd name="connsiteY2" fmla="*/ 0 h 853321"/>
              <a:gd name="connsiteX3" fmla="*/ 2076310 w 2076310"/>
              <a:gd name="connsiteY3" fmla="*/ 774699 h 853321"/>
              <a:gd name="connsiteX4" fmla="*/ 0 w 2076310"/>
              <a:gd name="connsiteY4" fmla="*/ 774699 h 853321"/>
              <a:gd name="connsiteX0" fmla="*/ 0 w 2076310"/>
              <a:gd name="connsiteY0" fmla="*/ 774699 h 853321"/>
              <a:gd name="connsiteX1" fmla="*/ 330504 w 2076310"/>
              <a:gd name="connsiteY1" fmla="*/ 0 h 853321"/>
              <a:gd name="connsiteX2" fmla="*/ 1737029 w 2076310"/>
              <a:gd name="connsiteY2" fmla="*/ 0 h 853321"/>
              <a:gd name="connsiteX3" fmla="*/ 2076310 w 2076310"/>
              <a:gd name="connsiteY3" fmla="*/ 774699 h 853321"/>
              <a:gd name="connsiteX4" fmla="*/ 0 w 2076310"/>
              <a:gd name="connsiteY4" fmla="*/ 774699 h 853321"/>
              <a:gd name="connsiteX0" fmla="*/ 0 w 2076310"/>
              <a:gd name="connsiteY0" fmla="*/ 774699 h 856852"/>
              <a:gd name="connsiteX1" fmla="*/ 330504 w 2076310"/>
              <a:gd name="connsiteY1" fmla="*/ 0 h 856852"/>
              <a:gd name="connsiteX2" fmla="*/ 1737029 w 2076310"/>
              <a:gd name="connsiteY2" fmla="*/ 0 h 856852"/>
              <a:gd name="connsiteX3" fmla="*/ 2076310 w 2076310"/>
              <a:gd name="connsiteY3" fmla="*/ 774699 h 856852"/>
              <a:gd name="connsiteX4" fmla="*/ 0 w 2076310"/>
              <a:gd name="connsiteY4" fmla="*/ 774699 h 856852"/>
              <a:gd name="connsiteX0" fmla="*/ 0 w 2076310"/>
              <a:gd name="connsiteY0" fmla="*/ 774699 h 858647"/>
              <a:gd name="connsiteX1" fmla="*/ 330504 w 2076310"/>
              <a:gd name="connsiteY1" fmla="*/ 0 h 858647"/>
              <a:gd name="connsiteX2" fmla="*/ 1737029 w 2076310"/>
              <a:gd name="connsiteY2" fmla="*/ 0 h 858647"/>
              <a:gd name="connsiteX3" fmla="*/ 2076310 w 2076310"/>
              <a:gd name="connsiteY3" fmla="*/ 774699 h 858647"/>
              <a:gd name="connsiteX4" fmla="*/ 0 w 2076310"/>
              <a:gd name="connsiteY4" fmla="*/ 774699 h 858647"/>
              <a:gd name="connsiteX0" fmla="*/ 0 w 2076310"/>
              <a:gd name="connsiteY0" fmla="*/ 774699 h 856891"/>
              <a:gd name="connsiteX1" fmla="*/ 330504 w 2076310"/>
              <a:gd name="connsiteY1" fmla="*/ 0 h 856891"/>
              <a:gd name="connsiteX2" fmla="*/ 1737029 w 2076310"/>
              <a:gd name="connsiteY2" fmla="*/ 0 h 856891"/>
              <a:gd name="connsiteX3" fmla="*/ 2076310 w 2076310"/>
              <a:gd name="connsiteY3" fmla="*/ 774699 h 856891"/>
              <a:gd name="connsiteX4" fmla="*/ 0 w 2076310"/>
              <a:gd name="connsiteY4" fmla="*/ 774699 h 856891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774699 h 853280"/>
              <a:gd name="connsiteX1" fmla="*/ 330504 w 2076310"/>
              <a:gd name="connsiteY1" fmla="*/ 0 h 853280"/>
              <a:gd name="connsiteX2" fmla="*/ 1737029 w 2076310"/>
              <a:gd name="connsiteY2" fmla="*/ 0 h 853280"/>
              <a:gd name="connsiteX3" fmla="*/ 2076310 w 2076310"/>
              <a:gd name="connsiteY3" fmla="*/ 774699 h 853280"/>
              <a:gd name="connsiteX4" fmla="*/ 0 w 2076310"/>
              <a:gd name="connsiteY4" fmla="*/ 774699 h 853280"/>
              <a:gd name="connsiteX0" fmla="*/ 0 w 2076310"/>
              <a:gd name="connsiteY0" fmla="*/ 805885 h 884466"/>
              <a:gd name="connsiteX1" fmla="*/ 330504 w 2076310"/>
              <a:gd name="connsiteY1" fmla="*/ 31186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11082 h 889663"/>
              <a:gd name="connsiteX1" fmla="*/ 234180 w 2076310"/>
              <a:gd name="connsiteY1" fmla="*/ 0 h 889663"/>
              <a:gd name="connsiteX2" fmla="*/ 1861893 w 2076310"/>
              <a:gd name="connsiteY2" fmla="*/ 5197 h 889663"/>
              <a:gd name="connsiteX3" fmla="*/ 2076310 w 2076310"/>
              <a:gd name="connsiteY3" fmla="*/ 811082 h 889663"/>
              <a:gd name="connsiteX4" fmla="*/ 0 w 2076310"/>
              <a:gd name="connsiteY4" fmla="*/ 811082 h 889663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884466"/>
              <a:gd name="connsiteX1" fmla="*/ 227045 w 2076310"/>
              <a:gd name="connsiteY1" fmla="*/ 0 h 884466"/>
              <a:gd name="connsiteX2" fmla="*/ 1861893 w 2076310"/>
              <a:gd name="connsiteY2" fmla="*/ 0 h 884466"/>
              <a:gd name="connsiteX3" fmla="*/ 2076310 w 2076310"/>
              <a:gd name="connsiteY3" fmla="*/ 805885 h 884466"/>
              <a:gd name="connsiteX4" fmla="*/ 0 w 2076310"/>
              <a:gd name="connsiteY4" fmla="*/ 805885 h 884466"/>
              <a:gd name="connsiteX0" fmla="*/ 0 w 2076310"/>
              <a:gd name="connsiteY0" fmla="*/ 805885 h 955421"/>
              <a:gd name="connsiteX1" fmla="*/ 227045 w 2076310"/>
              <a:gd name="connsiteY1" fmla="*/ 0 h 955421"/>
              <a:gd name="connsiteX2" fmla="*/ 1861893 w 2076310"/>
              <a:gd name="connsiteY2" fmla="*/ 0 h 955421"/>
              <a:gd name="connsiteX3" fmla="*/ 2076310 w 2076310"/>
              <a:gd name="connsiteY3" fmla="*/ 805885 h 955421"/>
              <a:gd name="connsiteX4" fmla="*/ 0 w 2076310"/>
              <a:gd name="connsiteY4" fmla="*/ 805885 h 955421"/>
              <a:gd name="connsiteX0" fmla="*/ 0 w 2076310"/>
              <a:gd name="connsiteY0" fmla="*/ 805885 h 988643"/>
              <a:gd name="connsiteX1" fmla="*/ 227045 w 2076310"/>
              <a:gd name="connsiteY1" fmla="*/ 0 h 988643"/>
              <a:gd name="connsiteX2" fmla="*/ 1861893 w 2076310"/>
              <a:gd name="connsiteY2" fmla="*/ 0 h 988643"/>
              <a:gd name="connsiteX3" fmla="*/ 2076310 w 2076310"/>
              <a:gd name="connsiteY3" fmla="*/ 805885 h 988643"/>
              <a:gd name="connsiteX4" fmla="*/ 0 w 2076310"/>
              <a:gd name="connsiteY4" fmla="*/ 805885 h 988643"/>
              <a:gd name="connsiteX0" fmla="*/ 0 w 2076310"/>
              <a:gd name="connsiteY0" fmla="*/ 805885 h 992804"/>
              <a:gd name="connsiteX1" fmla="*/ 227045 w 2076310"/>
              <a:gd name="connsiteY1" fmla="*/ 0 h 992804"/>
              <a:gd name="connsiteX2" fmla="*/ 1861893 w 2076310"/>
              <a:gd name="connsiteY2" fmla="*/ 0 h 992804"/>
              <a:gd name="connsiteX3" fmla="*/ 2076310 w 2076310"/>
              <a:gd name="connsiteY3" fmla="*/ 805885 h 992804"/>
              <a:gd name="connsiteX4" fmla="*/ 0 w 2076310"/>
              <a:gd name="connsiteY4" fmla="*/ 805885 h 992804"/>
              <a:gd name="connsiteX0" fmla="*/ 0 w 2076310"/>
              <a:gd name="connsiteY0" fmla="*/ 819745 h 1006664"/>
              <a:gd name="connsiteX1" fmla="*/ 227045 w 2076310"/>
              <a:gd name="connsiteY1" fmla="*/ 13860 h 1006664"/>
              <a:gd name="connsiteX2" fmla="*/ 1899507 w 2076310"/>
              <a:gd name="connsiteY2" fmla="*/ 0 h 1006664"/>
              <a:gd name="connsiteX3" fmla="*/ 2076310 w 2076310"/>
              <a:gd name="connsiteY3" fmla="*/ 819745 h 1006664"/>
              <a:gd name="connsiteX4" fmla="*/ 0 w 2076310"/>
              <a:gd name="connsiteY4" fmla="*/ 819745 h 1006664"/>
              <a:gd name="connsiteX0" fmla="*/ 0 w 2076310"/>
              <a:gd name="connsiteY0" fmla="*/ 819745 h 1006664"/>
              <a:gd name="connsiteX1" fmla="*/ 178146 w 2076310"/>
              <a:gd name="connsiteY1" fmla="*/ 27721 h 1006664"/>
              <a:gd name="connsiteX2" fmla="*/ 1899507 w 2076310"/>
              <a:gd name="connsiteY2" fmla="*/ 0 h 1006664"/>
              <a:gd name="connsiteX3" fmla="*/ 2076310 w 2076310"/>
              <a:gd name="connsiteY3" fmla="*/ 819745 h 1006664"/>
              <a:gd name="connsiteX4" fmla="*/ 0 w 2076310"/>
              <a:gd name="connsiteY4" fmla="*/ 819745 h 1006664"/>
              <a:gd name="connsiteX0" fmla="*/ 0 w 2076310"/>
              <a:gd name="connsiteY0" fmla="*/ 819745 h 1006664"/>
              <a:gd name="connsiteX1" fmla="*/ 178146 w 2076310"/>
              <a:gd name="connsiteY1" fmla="*/ 27721 h 1006664"/>
              <a:gd name="connsiteX2" fmla="*/ 1903269 w 2076310"/>
              <a:gd name="connsiteY2" fmla="*/ 0 h 1006664"/>
              <a:gd name="connsiteX3" fmla="*/ 2076310 w 2076310"/>
              <a:gd name="connsiteY3" fmla="*/ 819745 h 1006664"/>
              <a:gd name="connsiteX4" fmla="*/ 0 w 2076310"/>
              <a:gd name="connsiteY4" fmla="*/ 819745 h 1006664"/>
              <a:gd name="connsiteX0" fmla="*/ 0 w 2076310"/>
              <a:gd name="connsiteY0" fmla="*/ 819745 h 1040769"/>
              <a:gd name="connsiteX1" fmla="*/ 178146 w 2076310"/>
              <a:gd name="connsiteY1" fmla="*/ 27721 h 1040769"/>
              <a:gd name="connsiteX2" fmla="*/ 1903269 w 2076310"/>
              <a:gd name="connsiteY2" fmla="*/ 0 h 1040769"/>
              <a:gd name="connsiteX3" fmla="*/ 2076310 w 2076310"/>
              <a:gd name="connsiteY3" fmla="*/ 819745 h 1040769"/>
              <a:gd name="connsiteX4" fmla="*/ 0 w 2076310"/>
              <a:gd name="connsiteY4" fmla="*/ 819745 h 1040769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819745 h 1099088"/>
              <a:gd name="connsiteX1" fmla="*/ 178146 w 2076310"/>
              <a:gd name="connsiteY1" fmla="*/ 27721 h 1099088"/>
              <a:gd name="connsiteX2" fmla="*/ 1903269 w 2076310"/>
              <a:gd name="connsiteY2" fmla="*/ 0 h 1099088"/>
              <a:gd name="connsiteX3" fmla="*/ 2076310 w 2076310"/>
              <a:gd name="connsiteY3" fmla="*/ 819745 h 1099088"/>
              <a:gd name="connsiteX4" fmla="*/ 0 w 2076310"/>
              <a:gd name="connsiteY4" fmla="*/ 819745 h 1099088"/>
              <a:gd name="connsiteX0" fmla="*/ 0 w 2076310"/>
              <a:gd name="connsiteY0" fmla="*/ 792024 h 1085686"/>
              <a:gd name="connsiteX1" fmla="*/ 178146 w 2076310"/>
              <a:gd name="connsiteY1" fmla="*/ 27721 h 1085686"/>
              <a:gd name="connsiteX2" fmla="*/ 1903269 w 2076310"/>
              <a:gd name="connsiteY2" fmla="*/ 0 h 1085686"/>
              <a:gd name="connsiteX3" fmla="*/ 2076310 w 2076310"/>
              <a:gd name="connsiteY3" fmla="*/ 819745 h 1085686"/>
              <a:gd name="connsiteX4" fmla="*/ 0 w 2076310"/>
              <a:gd name="connsiteY4" fmla="*/ 792024 h 1085686"/>
              <a:gd name="connsiteX0" fmla="*/ 0 w 2076310"/>
              <a:gd name="connsiteY0" fmla="*/ 792024 h 1085686"/>
              <a:gd name="connsiteX1" fmla="*/ 185669 w 2076310"/>
              <a:gd name="connsiteY1" fmla="*/ 27721 h 1085686"/>
              <a:gd name="connsiteX2" fmla="*/ 1903269 w 2076310"/>
              <a:gd name="connsiteY2" fmla="*/ 0 h 1085686"/>
              <a:gd name="connsiteX3" fmla="*/ 2076310 w 2076310"/>
              <a:gd name="connsiteY3" fmla="*/ 819745 h 1085686"/>
              <a:gd name="connsiteX4" fmla="*/ 0 w 2076310"/>
              <a:gd name="connsiteY4" fmla="*/ 792024 h 1085686"/>
              <a:gd name="connsiteX0" fmla="*/ 0 w 2076310"/>
              <a:gd name="connsiteY0" fmla="*/ 792024 h 1085686"/>
              <a:gd name="connsiteX1" fmla="*/ 178146 w 2076310"/>
              <a:gd name="connsiteY1" fmla="*/ 20791 h 1085686"/>
              <a:gd name="connsiteX2" fmla="*/ 1903269 w 2076310"/>
              <a:gd name="connsiteY2" fmla="*/ 0 h 1085686"/>
              <a:gd name="connsiteX3" fmla="*/ 2076310 w 2076310"/>
              <a:gd name="connsiteY3" fmla="*/ 819745 h 1085686"/>
              <a:gd name="connsiteX4" fmla="*/ 0 w 2076310"/>
              <a:gd name="connsiteY4" fmla="*/ 792024 h 1085686"/>
              <a:gd name="connsiteX0" fmla="*/ 0 w 2076310"/>
              <a:gd name="connsiteY0" fmla="*/ 792024 h 1090692"/>
              <a:gd name="connsiteX1" fmla="*/ 178146 w 2076310"/>
              <a:gd name="connsiteY1" fmla="*/ 20791 h 1090692"/>
              <a:gd name="connsiteX2" fmla="*/ 1903269 w 2076310"/>
              <a:gd name="connsiteY2" fmla="*/ 0 h 1090692"/>
              <a:gd name="connsiteX3" fmla="*/ 2076310 w 2076310"/>
              <a:gd name="connsiteY3" fmla="*/ 819745 h 1090692"/>
              <a:gd name="connsiteX4" fmla="*/ 0 w 2076310"/>
              <a:gd name="connsiteY4" fmla="*/ 792024 h 1090692"/>
              <a:gd name="connsiteX0" fmla="*/ 0 w 2076310"/>
              <a:gd name="connsiteY0" fmla="*/ 792024 h 1083536"/>
              <a:gd name="connsiteX1" fmla="*/ 178146 w 2076310"/>
              <a:gd name="connsiteY1" fmla="*/ 20791 h 1083536"/>
              <a:gd name="connsiteX2" fmla="*/ 1903269 w 2076310"/>
              <a:gd name="connsiteY2" fmla="*/ 0 h 1083536"/>
              <a:gd name="connsiteX3" fmla="*/ 2076310 w 2076310"/>
              <a:gd name="connsiteY3" fmla="*/ 805884 h 1083536"/>
              <a:gd name="connsiteX4" fmla="*/ 0 w 2076310"/>
              <a:gd name="connsiteY4" fmla="*/ 792024 h 1083536"/>
              <a:gd name="connsiteX0" fmla="*/ 0 w 2076310"/>
              <a:gd name="connsiteY0" fmla="*/ 792024 h 1099514"/>
              <a:gd name="connsiteX1" fmla="*/ 178146 w 2076310"/>
              <a:gd name="connsiteY1" fmla="*/ 20791 h 1099514"/>
              <a:gd name="connsiteX2" fmla="*/ 1903269 w 2076310"/>
              <a:gd name="connsiteY2" fmla="*/ 0 h 1099514"/>
              <a:gd name="connsiteX3" fmla="*/ 2076310 w 2076310"/>
              <a:gd name="connsiteY3" fmla="*/ 805884 h 1099514"/>
              <a:gd name="connsiteX4" fmla="*/ 0 w 2076310"/>
              <a:gd name="connsiteY4" fmla="*/ 792024 h 1099514"/>
              <a:gd name="connsiteX0" fmla="*/ 0 w 2076310"/>
              <a:gd name="connsiteY0" fmla="*/ 792024 h 1099514"/>
              <a:gd name="connsiteX1" fmla="*/ 178146 w 2076310"/>
              <a:gd name="connsiteY1" fmla="*/ 20791 h 1099514"/>
              <a:gd name="connsiteX2" fmla="*/ 1903269 w 2076310"/>
              <a:gd name="connsiteY2" fmla="*/ 0 h 1099514"/>
              <a:gd name="connsiteX3" fmla="*/ 2076310 w 2076310"/>
              <a:gd name="connsiteY3" fmla="*/ 805884 h 1099514"/>
              <a:gd name="connsiteX4" fmla="*/ 0 w 2076310"/>
              <a:gd name="connsiteY4" fmla="*/ 792024 h 1099514"/>
              <a:gd name="connsiteX0" fmla="*/ 0 w 1987631"/>
              <a:gd name="connsiteY0" fmla="*/ 524230 h 1003313"/>
              <a:gd name="connsiteX1" fmla="*/ 89467 w 1987631"/>
              <a:gd name="connsiteY1" fmla="*/ 20791 h 1003313"/>
              <a:gd name="connsiteX2" fmla="*/ 1814590 w 1987631"/>
              <a:gd name="connsiteY2" fmla="*/ 0 h 1003313"/>
              <a:gd name="connsiteX3" fmla="*/ 1987631 w 1987631"/>
              <a:gd name="connsiteY3" fmla="*/ 805884 h 1003313"/>
              <a:gd name="connsiteX4" fmla="*/ 0 w 1987631"/>
              <a:gd name="connsiteY4" fmla="*/ 524230 h 1003313"/>
              <a:gd name="connsiteX0" fmla="*/ 0 w 1905068"/>
              <a:gd name="connsiteY0" fmla="*/ 524230 h 790096"/>
              <a:gd name="connsiteX1" fmla="*/ 89467 w 1905068"/>
              <a:gd name="connsiteY1" fmla="*/ 20791 h 790096"/>
              <a:gd name="connsiteX2" fmla="*/ 1814590 w 1905068"/>
              <a:gd name="connsiteY2" fmla="*/ 0 h 790096"/>
              <a:gd name="connsiteX3" fmla="*/ 1905068 w 1905068"/>
              <a:gd name="connsiteY3" fmla="*/ 452883 h 790096"/>
              <a:gd name="connsiteX4" fmla="*/ 0 w 1905068"/>
              <a:gd name="connsiteY4" fmla="*/ 524230 h 790096"/>
              <a:gd name="connsiteX0" fmla="*/ 0 w 1902010"/>
              <a:gd name="connsiteY0" fmla="*/ 524230 h 790096"/>
              <a:gd name="connsiteX1" fmla="*/ 89467 w 1902010"/>
              <a:gd name="connsiteY1" fmla="*/ 20791 h 790096"/>
              <a:gd name="connsiteX2" fmla="*/ 1814590 w 1902010"/>
              <a:gd name="connsiteY2" fmla="*/ 0 h 790096"/>
              <a:gd name="connsiteX3" fmla="*/ 1902010 w 1902010"/>
              <a:gd name="connsiteY3" fmla="*/ 452883 h 790096"/>
              <a:gd name="connsiteX4" fmla="*/ 0 w 1902010"/>
              <a:gd name="connsiteY4" fmla="*/ 524230 h 790096"/>
              <a:gd name="connsiteX0" fmla="*/ 0 w 1902010"/>
              <a:gd name="connsiteY0" fmla="*/ 524230 h 792845"/>
              <a:gd name="connsiteX1" fmla="*/ 89467 w 1902010"/>
              <a:gd name="connsiteY1" fmla="*/ 20791 h 792845"/>
              <a:gd name="connsiteX2" fmla="*/ 1814590 w 1902010"/>
              <a:gd name="connsiteY2" fmla="*/ 0 h 792845"/>
              <a:gd name="connsiteX3" fmla="*/ 1902010 w 1902010"/>
              <a:gd name="connsiteY3" fmla="*/ 458970 h 792845"/>
              <a:gd name="connsiteX4" fmla="*/ 0 w 1902010"/>
              <a:gd name="connsiteY4" fmla="*/ 524230 h 792845"/>
              <a:gd name="connsiteX0" fmla="*/ 0 w 1908126"/>
              <a:gd name="connsiteY0" fmla="*/ 524230 h 801296"/>
              <a:gd name="connsiteX1" fmla="*/ 89467 w 1908126"/>
              <a:gd name="connsiteY1" fmla="*/ 20791 h 801296"/>
              <a:gd name="connsiteX2" fmla="*/ 1814590 w 1908126"/>
              <a:gd name="connsiteY2" fmla="*/ 0 h 801296"/>
              <a:gd name="connsiteX3" fmla="*/ 1908126 w 1908126"/>
              <a:gd name="connsiteY3" fmla="*/ 477228 h 801296"/>
              <a:gd name="connsiteX4" fmla="*/ 0 w 1908126"/>
              <a:gd name="connsiteY4" fmla="*/ 524230 h 801296"/>
              <a:gd name="connsiteX0" fmla="*/ 0 w 1911184"/>
              <a:gd name="connsiteY0" fmla="*/ 524230 h 801296"/>
              <a:gd name="connsiteX1" fmla="*/ 89467 w 1911184"/>
              <a:gd name="connsiteY1" fmla="*/ 20791 h 801296"/>
              <a:gd name="connsiteX2" fmla="*/ 1814590 w 1911184"/>
              <a:gd name="connsiteY2" fmla="*/ 0 h 801296"/>
              <a:gd name="connsiteX3" fmla="*/ 1911184 w 1911184"/>
              <a:gd name="connsiteY3" fmla="*/ 477228 h 801296"/>
              <a:gd name="connsiteX4" fmla="*/ 0 w 1911184"/>
              <a:gd name="connsiteY4" fmla="*/ 524230 h 801296"/>
              <a:gd name="connsiteX0" fmla="*/ 0 w 1911184"/>
              <a:gd name="connsiteY0" fmla="*/ 524230 h 804182"/>
              <a:gd name="connsiteX1" fmla="*/ 89467 w 1911184"/>
              <a:gd name="connsiteY1" fmla="*/ 20791 h 804182"/>
              <a:gd name="connsiteX2" fmla="*/ 1814590 w 1911184"/>
              <a:gd name="connsiteY2" fmla="*/ 0 h 804182"/>
              <a:gd name="connsiteX3" fmla="*/ 1911184 w 1911184"/>
              <a:gd name="connsiteY3" fmla="*/ 483314 h 804182"/>
              <a:gd name="connsiteX4" fmla="*/ 0 w 1911184"/>
              <a:gd name="connsiteY4" fmla="*/ 524230 h 804182"/>
              <a:gd name="connsiteX0" fmla="*/ 0 w 1911184"/>
              <a:gd name="connsiteY0" fmla="*/ 524230 h 984249"/>
              <a:gd name="connsiteX1" fmla="*/ 89467 w 1911184"/>
              <a:gd name="connsiteY1" fmla="*/ 20791 h 984249"/>
              <a:gd name="connsiteX2" fmla="*/ 1814590 w 1911184"/>
              <a:gd name="connsiteY2" fmla="*/ 0 h 984249"/>
              <a:gd name="connsiteX3" fmla="*/ 1911184 w 1911184"/>
              <a:gd name="connsiteY3" fmla="*/ 483314 h 984249"/>
              <a:gd name="connsiteX4" fmla="*/ 0 w 1911184"/>
              <a:gd name="connsiteY4" fmla="*/ 524230 h 984249"/>
              <a:gd name="connsiteX0" fmla="*/ 1443 w 1912627"/>
              <a:gd name="connsiteY0" fmla="*/ 524230 h 1089691"/>
              <a:gd name="connsiteX1" fmla="*/ 90910 w 1912627"/>
              <a:gd name="connsiteY1" fmla="*/ 20791 h 1089691"/>
              <a:gd name="connsiteX2" fmla="*/ 1816033 w 1912627"/>
              <a:gd name="connsiteY2" fmla="*/ 0 h 1089691"/>
              <a:gd name="connsiteX3" fmla="*/ 1912627 w 1912627"/>
              <a:gd name="connsiteY3" fmla="*/ 483314 h 1089691"/>
              <a:gd name="connsiteX4" fmla="*/ 1443 w 1912627"/>
              <a:gd name="connsiteY4" fmla="*/ 524230 h 1089691"/>
              <a:gd name="connsiteX0" fmla="*/ 1314 w 1917755"/>
              <a:gd name="connsiteY0" fmla="*/ 524230 h 1001693"/>
              <a:gd name="connsiteX1" fmla="*/ 90781 w 1917755"/>
              <a:gd name="connsiteY1" fmla="*/ 20791 h 1001693"/>
              <a:gd name="connsiteX2" fmla="*/ 1815904 w 1917755"/>
              <a:gd name="connsiteY2" fmla="*/ 0 h 1001693"/>
              <a:gd name="connsiteX3" fmla="*/ 1912498 w 1917755"/>
              <a:gd name="connsiteY3" fmla="*/ 483314 h 1001693"/>
              <a:gd name="connsiteX4" fmla="*/ 1314 w 1917755"/>
              <a:gd name="connsiteY4" fmla="*/ 524230 h 1001693"/>
              <a:gd name="connsiteX0" fmla="*/ 1314 w 1917755"/>
              <a:gd name="connsiteY0" fmla="*/ 524230 h 1001693"/>
              <a:gd name="connsiteX1" fmla="*/ 90781 w 1917755"/>
              <a:gd name="connsiteY1" fmla="*/ 20791 h 1001693"/>
              <a:gd name="connsiteX2" fmla="*/ 1815904 w 1917755"/>
              <a:gd name="connsiteY2" fmla="*/ 0 h 1001693"/>
              <a:gd name="connsiteX3" fmla="*/ 1912498 w 1917755"/>
              <a:gd name="connsiteY3" fmla="*/ 483314 h 1001693"/>
              <a:gd name="connsiteX4" fmla="*/ 1314 w 1917755"/>
              <a:gd name="connsiteY4" fmla="*/ 524230 h 1001693"/>
              <a:gd name="connsiteX0" fmla="*/ 8250 w 1924467"/>
              <a:gd name="connsiteY0" fmla="*/ 524230 h 977901"/>
              <a:gd name="connsiteX1" fmla="*/ 97717 w 1924467"/>
              <a:gd name="connsiteY1" fmla="*/ 20791 h 977901"/>
              <a:gd name="connsiteX2" fmla="*/ 1822840 w 1924467"/>
              <a:gd name="connsiteY2" fmla="*/ 0 h 977901"/>
              <a:gd name="connsiteX3" fmla="*/ 1919434 w 1924467"/>
              <a:gd name="connsiteY3" fmla="*/ 483314 h 977901"/>
              <a:gd name="connsiteX4" fmla="*/ 8250 w 1924467"/>
              <a:gd name="connsiteY4" fmla="*/ 524230 h 977901"/>
              <a:gd name="connsiteX0" fmla="*/ 8612 w 1920030"/>
              <a:gd name="connsiteY0" fmla="*/ 524230 h 1084624"/>
              <a:gd name="connsiteX1" fmla="*/ 98079 w 1920030"/>
              <a:gd name="connsiteY1" fmla="*/ 20791 h 1084624"/>
              <a:gd name="connsiteX2" fmla="*/ 1823202 w 1920030"/>
              <a:gd name="connsiteY2" fmla="*/ 0 h 1084624"/>
              <a:gd name="connsiteX3" fmla="*/ 1919796 w 1920030"/>
              <a:gd name="connsiteY3" fmla="*/ 483314 h 1084624"/>
              <a:gd name="connsiteX4" fmla="*/ 8612 w 1920030"/>
              <a:gd name="connsiteY4" fmla="*/ 524230 h 1084624"/>
              <a:gd name="connsiteX0" fmla="*/ 4 w 1911441"/>
              <a:gd name="connsiteY0" fmla="*/ 524230 h 1148552"/>
              <a:gd name="connsiteX1" fmla="*/ 89471 w 1911441"/>
              <a:gd name="connsiteY1" fmla="*/ 20791 h 1148552"/>
              <a:gd name="connsiteX2" fmla="*/ 1814594 w 1911441"/>
              <a:gd name="connsiteY2" fmla="*/ 0 h 1148552"/>
              <a:gd name="connsiteX3" fmla="*/ 1911188 w 1911441"/>
              <a:gd name="connsiteY3" fmla="*/ 483314 h 1148552"/>
              <a:gd name="connsiteX4" fmla="*/ 4 w 1911441"/>
              <a:gd name="connsiteY4" fmla="*/ 524230 h 1148552"/>
              <a:gd name="connsiteX0" fmla="*/ 0 w 1911438"/>
              <a:gd name="connsiteY0" fmla="*/ 524230 h 1162247"/>
              <a:gd name="connsiteX1" fmla="*/ 89467 w 1911438"/>
              <a:gd name="connsiteY1" fmla="*/ 20791 h 1162247"/>
              <a:gd name="connsiteX2" fmla="*/ 1814590 w 1911438"/>
              <a:gd name="connsiteY2" fmla="*/ 0 h 1162247"/>
              <a:gd name="connsiteX3" fmla="*/ 1911184 w 1911438"/>
              <a:gd name="connsiteY3" fmla="*/ 483314 h 1162247"/>
              <a:gd name="connsiteX4" fmla="*/ 0 w 1911438"/>
              <a:gd name="connsiteY4" fmla="*/ 524230 h 1162247"/>
              <a:gd name="connsiteX0" fmla="*/ 0 w 1911289"/>
              <a:gd name="connsiteY0" fmla="*/ 524230 h 1155454"/>
              <a:gd name="connsiteX1" fmla="*/ 89467 w 1911289"/>
              <a:gd name="connsiteY1" fmla="*/ 20791 h 1155454"/>
              <a:gd name="connsiteX2" fmla="*/ 1814590 w 1911289"/>
              <a:gd name="connsiteY2" fmla="*/ 0 h 1155454"/>
              <a:gd name="connsiteX3" fmla="*/ 1911184 w 1911289"/>
              <a:gd name="connsiteY3" fmla="*/ 483314 h 1155454"/>
              <a:gd name="connsiteX4" fmla="*/ 0 w 1911289"/>
              <a:gd name="connsiteY4" fmla="*/ 524230 h 1155454"/>
              <a:gd name="connsiteX0" fmla="*/ 57 w 1911346"/>
              <a:gd name="connsiteY0" fmla="*/ 524230 h 1164710"/>
              <a:gd name="connsiteX1" fmla="*/ 89524 w 1911346"/>
              <a:gd name="connsiteY1" fmla="*/ 20791 h 1164710"/>
              <a:gd name="connsiteX2" fmla="*/ 1814647 w 1911346"/>
              <a:gd name="connsiteY2" fmla="*/ 0 h 1164710"/>
              <a:gd name="connsiteX3" fmla="*/ 1911241 w 1911346"/>
              <a:gd name="connsiteY3" fmla="*/ 483314 h 1164710"/>
              <a:gd name="connsiteX4" fmla="*/ 57 w 1911346"/>
              <a:gd name="connsiteY4" fmla="*/ 524230 h 1164710"/>
              <a:gd name="connsiteX0" fmla="*/ 57 w 1911311"/>
              <a:gd name="connsiteY0" fmla="*/ 524230 h 1160234"/>
              <a:gd name="connsiteX1" fmla="*/ 89524 w 1911311"/>
              <a:gd name="connsiteY1" fmla="*/ 20791 h 1160234"/>
              <a:gd name="connsiteX2" fmla="*/ 1814647 w 1911311"/>
              <a:gd name="connsiteY2" fmla="*/ 0 h 1160234"/>
              <a:gd name="connsiteX3" fmla="*/ 1911241 w 1911311"/>
              <a:gd name="connsiteY3" fmla="*/ 483314 h 1160234"/>
              <a:gd name="connsiteX4" fmla="*/ 57 w 1911311"/>
              <a:gd name="connsiteY4" fmla="*/ 524230 h 1160234"/>
              <a:gd name="connsiteX0" fmla="*/ 57 w 1911311"/>
              <a:gd name="connsiteY0" fmla="*/ 524230 h 1164710"/>
              <a:gd name="connsiteX1" fmla="*/ 89524 w 1911311"/>
              <a:gd name="connsiteY1" fmla="*/ 20791 h 1164710"/>
              <a:gd name="connsiteX2" fmla="*/ 1814647 w 1911311"/>
              <a:gd name="connsiteY2" fmla="*/ 0 h 1164710"/>
              <a:gd name="connsiteX3" fmla="*/ 1911241 w 1911311"/>
              <a:gd name="connsiteY3" fmla="*/ 483314 h 1164710"/>
              <a:gd name="connsiteX4" fmla="*/ 57 w 1911311"/>
              <a:gd name="connsiteY4" fmla="*/ 524230 h 1164710"/>
              <a:gd name="connsiteX0" fmla="*/ 15 w 1911269"/>
              <a:gd name="connsiteY0" fmla="*/ 524230 h 1134859"/>
              <a:gd name="connsiteX1" fmla="*/ 89482 w 1911269"/>
              <a:gd name="connsiteY1" fmla="*/ 20791 h 1134859"/>
              <a:gd name="connsiteX2" fmla="*/ 1814605 w 1911269"/>
              <a:gd name="connsiteY2" fmla="*/ 0 h 1134859"/>
              <a:gd name="connsiteX3" fmla="*/ 1911199 w 1911269"/>
              <a:gd name="connsiteY3" fmla="*/ 483314 h 1134859"/>
              <a:gd name="connsiteX4" fmla="*/ 15 w 1911269"/>
              <a:gd name="connsiteY4" fmla="*/ 524230 h 1134859"/>
              <a:gd name="connsiteX0" fmla="*/ 15 w 1911199"/>
              <a:gd name="connsiteY0" fmla="*/ 524230 h 1134859"/>
              <a:gd name="connsiteX1" fmla="*/ 89482 w 1911199"/>
              <a:gd name="connsiteY1" fmla="*/ 20791 h 1134859"/>
              <a:gd name="connsiteX2" fmla="*/ 1814605 w 1911199"/>
              <a:gd name="connsiteY2" fmla="*/ 0 h 1134859"/>
              <a:gd name="connsiteX3" fmla="*/ 1911199 w 1911199"/>
              <a:gd name="connsiteY3" fmla="*/ 483314 h 1134859"/>
              <a:gd name="connsiteX4" fmla="*/ 15 w 1911199"/>
              <a:gd name="connsiteY4" fmla="*/ 524230 h 1134859"/>
              <a:gd name="connsiteX0" fmla="*/ 15 w 1911199"/>
              <a:gd name="connsiteY0" fmla="*/ 524230 h 1132567"/>
              <a:gd name="connsiteX1" fmla="*/ 89482 w 1911199"/>
              <a:gd name="connsiteY1" fmla="*/ 20791 h 1132567"/>
              <a:gd name="connsiteX2" fmla="*/ 1814605 w 1911199"/>
              <a:gd name="connsiteY2" fmla="*/ 0 h 1132567"/>
              <a:gd name="connsiteX3" fmla="*/ 1911199 w 1911199"/>
              <a:gd name="connsiteY3" fmla="*/ 483314 h 1132567"/>
              <a:gd name="connsiteX4" fmla="*/ 15 w 1911199"/>
              <a:gd name="connsiteY4" fmla="*/ 524230 h 1132567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1167"/>
              <a:gd name="connsiteX1" fmla="*/ 89482 w 1911199"/>
              <a:gd name="connsiteY1" fmla="*/ 20791 h 1121167"/>
              <a:gd name="connsiteX2" fmla="*/ 1814605 w 1911199"/>
              <a:gd name="connsiteY2" fmla="*/ 0 h 1121167"/>
              <a:gd name="connsiteX3" fmla="*/ 1911199 w 1911199"/>
              <a:gd name="connsiteY3" fmla="*/ 483314 h 1121167"/>
              <a:gd name="connsiteX4" fmla="*/ 15 w 1911199"/>
              <a:gd name="connsiteY4" fmla="*/ 524230 h 1121167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15 w 1911199"/>
              <a:gd name="connsiteY0" fmla="*/ 524230 h 1123438"/>
              <a:gd name="connsiteX1" fmla="*/ 89482 w 1911199"/>
              <a:gd name="connsiteY1" fmla="*/ 20791 h 1123438"/>
              <a:gd name="connsiteX2" fmla="*/ 1814605 w 1911199"/>
              <a:gd name="connsiteY2" fmla="*/ 0 h 1123438"/>
              <a:gd name="connsiteX3" fmla="*/ 1911199 w 1911199"/>
              <a:gd name="connsiteY3" fmla="*/ 483314 h 1123438"/>
              <a:gd name="connsiteX4" fmla="*/ 15 w 1911199"/>
              <a:gd name="connsiteY4" fmla="*/ 524230 h 1123438"/>
              <a:gd name="connsiteX0" fmla="*/ 59 w 1911243"/>
              <a:gd name="connsiteY0" fmla="*/ 524230 h 1121149"/>
              <a:gd name="connsiteX1" fmla="*/ 89526 w 1911243"/>
              <a:gd name="connsiteY1" fmla="*/ 20791 h 1121149"/>
              <a:gd name="connsiteX2" fmla="*/ 1814649 w 1911243"/>
              <a:gd name="connsiteY2" fmla="*/ 0 h 1121149"/>
              <a:gd name="connsiteX3" fmla="*/ 1911243 w 1911243"/>
              <a:gd name="connsiteY3" fmla="*/ 483314 h 1121149"/>
              <a:gd name="connsiteX4" fmla="*/ 59 w 1911243"/>
              <a:gd name="connsiteY4" fmla="*/ 524230 h 1121149"/>
              <a:gd name="connsiteX0" fmla="*/ 59 w 1911243"/>
              <a:gd name="connsiteY0" fmla="*/ 524230 h 1128002"/>
              <a:gd name="connsiteX1" fmla="*/ 89526 w 1911243"/>
              <a:gd name="connsiteY1" fmla="*/ 20791 h 1128002"/>
              <a:gd name="connsiteX2" fmla="*/ 1814649 w 1911243"/>
              <a:gd name="connsiteY2" fmla="*/ 0 h 1128002"/>
              <a:gd name="connsiteX3" fmla="*/ 1911243 w 1911243"/>
              <a:gd name="connsiteY3" fmla="*/ 483314 h 1128002"/>
              <a:gd name="connsiteX4" fmla="*/ 59 w 1911243"/>
              <a:gd name="connsiteY4" fmla="*/ 524230 h 1128002"/>
              <a:gd name="connsiteX0" fmla="*/ 59 w 1911243"/>
              <a:gd name="connsiteY0" fmla="*/ 524230 h 1128002"/>
              <a:gd name="connsiteX1" fmla="*/ 89526 w 1911243"/>
              <a:gd name="connsiteY1" fmla="*/ 20791 h 1128002"/>
              <a:gd name="connsiteX2" fmla="*/ 1814649 w 1911243"/>
              <a:gd name="connsiteY2" fmla="*/ 0 h 1128002"/>
              <a:gd name="connsiteX3" fmla="*/ 1911243 w 1911243"/>
              <a:gd name="connsiteY3" fmla="*/ 483314 h 1128002"/>
              <a:gd name="connsiteX4" fmla="*/ 59 w 1911243"/>
              <a:gd name="connsiteY4" fmla="*/ 524230 h 1128002"/>
              <a:gd name="connsiteX0" fmla="*/ 59 w 1911243"/>
              <a:gd name="connsiteY0" fmla="*/ 524230 h 1128002"/>
              <a:gd name="connsiteX1" fmla="*/ 89526 w 1911243"/>
              <a:gd name="connsiteY1" fmla="*/ 20791 h 1128002"/>
              <a:gd name="connsiteX2" fmla="*/ 1814649 w 1911243"/>
              <a:gd name="connsiteY2" fmla="*/ 0 h 1128002"/>
              <a:gd name="connsiteX3" fmla="*/ 1911243 w 1911243"/>
              <a:gd name="connsiteY3" fmla="*/ 483314 h 1128002"/>
              <a:gd name="connsiteX4" fmla="*/ 59 w 1911243"/>
              <a:gd name="connsiteY4" fmla="*/ 524230 h 1128002"/>
              <a:gd name="connsiteX0" fmla="*/ 59 w 1911243"/>
              <a:gd name="connsiteY0" fmla="*/ 517168 h 1120940"/>
              <a:gd name="connsiteX1" fmla="*/ 89526 w 1911243"/>
              <a:gd name="connsiteY1" fmla="*/ 13729 h 1120940"/>
              <a:gd name="connsiteX2" fmla="*/ 1814649 w 1911243"/>
              <a:gd name="connsiteY2" fmla="*/ 0 h 1120940"/>
              <a:gd name="connsiteX3" fmla="*/ 1911243 w 1911243"/>
              <a:gd name="connsiteY3" fmla="*/ 476252 h 1120940"/>
              <a:gd name="connsiteX4" fmla="*/ 59 w 1911243"/>
              <a:gd name="connsiteY4" fmla="*/ 517168 h 1120940"/>
              <a:gd name="connsiteX0" fmla="*/ 59 w 1911243"/>
              <a:gd name="connsiteY0" fmla="*/ 503439 h 1107211"/>
              <a:gd name="connsiteX1" fmla="*/ 89526 w 1911243"/>
              <a:gd name="connsiteY1" fmla="*/ 0 h 1107211"/>
              <a:gd name="connsiteX2" fmla="*/ 1816866 w 1911243"/>
              <a:gd name="connsiteY2" fmla="*/ 17166 h 1107211"/>
              <a:gd name="connsiteX3" fmla="*/ 1911243 w 1911243"/>
              <a:gd name="connsiteY3" fmla="*/ 462523 h 1107211"/>
              <a:gd name="connsiteX4" fmla="*/ 59 w 1911243"/>
              <a:gd name="connsiteY4" fmla="*/ 503439 h 1107211"/>
              <a:gd name="connsiteX0" fmla="*/ 59 w 1913461"/>
              <a:gd name="connsiteY0" fmla="*/ 503439 h 1109434"/>
              <a:gd name="connsiteX1" fmla="*/ 89526 w 1913461"/>
              <a:gd name="connsiteY1" fmla="*/ 0 h 1109434"/>
              <a:gd name="connsiteX2" fmla="*/ 1816866 w 1913461"/>
              <a:gd name="connsiteY2" fmla="*/ 17166 h 1109434"/>
              <a:gd name="connsiteX3" fmla="*/ 1913461 w 1913461"/>
              <a:gd name="connsiteY3" fmla="*/ 466937 h 1109434"/>
              <a:gd name="connsiteX4" fmla="*/ 59 w 1913461"/>
              <a:gd name="connsiteY4" fmla="*/ 503439 h 1109434"/>
              <a:gd name="connsiteX0" fmla="*/ 59 w 1913461"/>
              <a:gd name="connsiteY0" fmla="*/ 503439 h 1109434"/>
              <a:gd name="connsiteX1" fmla="*/ 89526 w 1913461"/>
              <a:gd name="connsiteY1" fmla="*/ 0 h 1109434"/>
              <a:gd name="connsiteX2" fmla="*/ 1816866 w 1913461"/>
              <a:gd name="connsiteY2" fmla="*/ 17166 h 1109434"/>
              <a:gd name="connsiteX3" fmla="*/ 1913461 w 1913461"/>
              <a:gd name="connsiteY3" fmla="*/ 466937 h 1109434"/>
              <a:gd name="connsiteX4" fmla="*/ 59 w 1913461"/>
              <a:gd name="connsiteY4" fmla="*/ 503439 h 1109434"/>
              <a:gd name="connsiteX0" fmla="*/ 59 w 1913461"/>
              <a:gd name="connsiteY0" fmla="*/ 503439 h 1109434"/>
              <a:gd name="connsiteX1" fmla="*/ 89526 w 1913461"/>
              <a:gd name="connsiteY1" fmla="*/ 0 h 1109434"/>
              <a:gd name="connsiteX2" fmla="*/ 1816866 w 1913461"/>
              <a:gd name="connsiteY2" fmla="*/ 17166 h 1109434"/>
              <a:gd name="connsiteX3" fmla="*/ 1913461 w 1913461"/>
              <a:gd name="connsiteY3" fmla="*/ 466937 h 1109434"/>
              <a:gd name="connsiteX4" fmla="*/ 59 w 1913461"/>
              <a:gd name="connsiteY4" fmla="*/ 503439 h 1109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3461" h="1109434">
                <a:moveTo>
                  <a:pt x="59" y="503439"/>
                </a:moveTo>
                <a:lnTo>
                  <a:pt x="89526" y="0"/>
                </a:lnTo>
                <a:cubicBezTo>
                  <a:pt x="553213" y="408970"/>
                  <a:pt x="1343398" y="366433"/>
                  <a:pt x="1816866" y="17166"/>
                </a:cubicBezTo>
                <a:lnTo>
                  <a:pt x="1913461" y="466937"/>
                </a:lnTo>
                <a:cubicBezTo>
                  <a:pt x="1865782" y="1346127"/>
                  <a:pt x="-12179" y="1288842"/>
                  <a:pt x="59" y="503439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  <a:effectLst>
            <a:outerShdw blurRad="50800" dist="38100" dir="16200000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3" name="Graphic 242" descr="Circular flowchart with solid fill">
            <a:extLst>
              <a:ext uri="{FF2B5EF4-FFF2-40B4-BE49-F238E27FC236}">
                <a16:creationId xmlns:a16="http://schemas.microsoft.com/office/drawing/2014/main" id="{ED31E398-84E3-7626-B444-22F71AFB17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41773" y="1657349"/>
            <a:ext cx="417444" cy="417444"/>
          </a:xfrm>
          <a:prstGeom prst="rect">
            <a:avLst/>
          </a:prstGeom>
        </p:spPr>
      </p:pic>
      <p:pic>
        <p:nvPicPr>
          <p:cNvPr id="245" name="Graphic 244" descr="Lightbulb with solid fill">
            <a:extLst>
              <a:ext uri="{FF2B5EF4-FFF2-40B4-BE49-F238E27FC236}">
                <a16:creationId xmlns:a16="http://schemas.microsoft.com/office/drawing/2014/main" id="{7A385012-D82F-B23C-4028-AAD13D37D14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63782" y="1032098"/>
            <a:ext cx="337018" cy="337018"/>
          </a:xfrm>
          <a:prstGeom prst="rect">
            <a:avLst/>
          </a:prstGeom>
        </p:spPr>
      </p:pic>
      <p:pic>
        <p:nvPicPr>
          <p:cNvPr id="247" name="Graphic 246" descr="Brain in head with solid fill">
            <a:extLst>
              <a:ext uri="{FF2B5EF4-FFF2-40B4-BE49-F238E27FC236}">
                <a16:creationId xmlns:a16="http://schemas.microsoft.com/office/drawing/2014/main" id="{757F4EA9-3D4B-28CC-F4E7-4C07165F55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14439" y="2385391"/>
            <a:ext cx="393256" cy="393256"/>
          </a:xfrm>
          <a:prstGeom prst="rect">
            <a:avLst/>
          </a:prstGeom>
        </p:spPr>
      </p:pic>
      <p:pic>
        <p:nvPicPr>
          <p:cNvPr id="249" name="Graphic 248" descr="Information with solid fill">
            <a:extLst>
              <a:ext uri="{FF2B5EF4-FFF2-40B4-BE49-F238E27FC236}">
                <a16:creationId xmlns:a16="http://schemas.microsoft.com/office/drawing/2014/main" id="{5DDA4A43-75EF-4BF1-2C1A-ABECA1F7DB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781227" y="3111202"/>
            <a:ext cx="295434" cy="295434"/>
          </a:xfrm>
          <a:prstGeom prst="rect">
            <a:avLst/>
          </a:prstGeom>
        </p:spPr>
      </p:pic>
      <p:pic>
        <p:nvPicPr>
          <p:cNvPr id="251" name="Graphic 250" descr="Table with solid fill">
            <a:extLst>
              <a:ext uri="{FF2B5EF4-FFF2-40B4-BE49-F238E27FC236}">
                <a16:creationId xmlns:a16="http://schemas.microsoft.com/office/drawing/2014/main" id="{4D0C11EE-07AF-859F-8033-B0928318D4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30617" y="3817792"/>
            <a:ext cx="306947" cy="306947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BEA45817-E607-BBC9-2575-062EB0A453FB}"/>
              </a:ext>
            </a:extLst>
          </p:cNvPr>
          <p:cNvSpPr txBox="1"/>
          <p:nvPr/>
        </p:nvSpPr>
        <p:spPr>
          <a:xfrm>
            <a:off x="3014041" y="4557296"/>
            <a:ext cx="8299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</a:t>
            </a:r>
            <a:endParaRPr lang="en-US" sz="1600"/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1DA3876F-F4F3-EE0A-D3C2-FA0C6A9D4458}"/>
              </a:ext>
            </a:extLst>
          </p:cNvPr>
          <p:cNvSpPr txBox="1"/>
          <p:nvPr/>
        </p:nvSpPr>
        <p:spPr>
          <a:xfrm>
            <a:off x="2747341" y="3814178"/>
            <a:ext cx="13633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</a:t>
            </a:r>
            <a:endParaRPr lang="en-US" sz="1600"/>
          </a:p>
        </p:txBody>
      </p:sp>
      <p:sp>
        <p:nvSpPr>
          <p:cNvPr id="256" name="TextBox 255">
            <a:extLst>
              <a:ext uri="{FF2B5EF4-FFF2-40B4-BE49-F238E27FC236}">
                <a16:creationId xmlns:a16="http://schemas.microsoft.com/office/drawing/2014/main" id="{7A981BA3-C756-B51A-664F-D2EF5836CDFC}"/>
              </a:ext>
            </a:extLst>
          </p:cNvPr>
          <p:cNvSpPr txBox="1"/>
          <p:nvPr/>
        </p:nvSpPr>
        <p:spPr>
          <a:xfrm>
            <a:off x="2704271" y="3131690"/>
            <a:ext cx="144945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ledge </a:t>
            </a:r>
            <a:endParaRPr lang="en-US" sz="1600"/>
          </a:p>
        </p:txBody>
      </p:sp>
      <p:sp>
        <p:nvSpPr>
          <p:cNvPr id="257" name="TextBox 256">
            <a:extLst>
              <a:ext uri="{FF2B5EF4-FFF2-40B4-BE49-F238E27FC236}">
                <a16:creationId xmlns:a16="http://schemas.microsoft.com/office/drawing/2014/main" id="{939BAD2B-B1C3-C0CA-BA6C-7C155D116EAD}"/>
              </a:ext>
            </a:extLst>
          </p:cNvPr>
          <p:cNvSpPr txBox="1"/>
          <p:nvPr/>
        </p:nvSpPr>
        <p:spPr>
          <a:xfrm>
            <a:off x="2636354" y="2400300"/>
            <a:ext cx="154553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ing </a:t>
            </a:r>
            <a:endParaRPr lang="en-US" sz="1600"/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2A9552C0-11D1-B093-CB22-647018F4CDFC}"/>
              </a:ext>
            </a:extLst>
          </p:cNvPr>
          <p:cNvSpPr txBox="1"/>
          <p:nvPr/>
        </p:nvSpPr>
        <p:spPr>
          <a:xfrm>
            <a:off x="2865783" y="1697143"/>
            <a:ext cx="10402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dom </a:t>
            </a:r>
            <a:endParaRPr lang="en-US" sz="1600"/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3992664A-5ABD-87EE-A8B1-6E2D334254A6}"/>
              </a:ext>
            </a:extLst>
          </p:cNvPr>
          <p:cNvSpPr txBox="1"/>
          <p:nvPr/>
        </p:nvSpPr>
        <p:spPr>
          <a:xfrm>
            <a:off x="3642691" y="869531"/>
            <a:ext cx="233072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applied the decision from the knowledge and reflected up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1091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8" grpId="0" animBg="1"/>
      <p:bldP spid="199" grpId="0" animBg="1"/>
      <p:bldP spid="200" grpId="0" animBg="1"/>
      <p:bldP spid="201" grpId="0" animBg="1"/>
      <p:bldP spid="202" grpId="0" animBg="1"/>
      <p:bldP spid="203" grpId="0" animBg="1"/>
      <p:bldP spid="204" grpId="0" animBg="1"/>
      <p:bldP spid="205" grpId="0" animBg="1"/>
      <p:bldP spid="206" grpId="0" animBg="1"/>
      <p:bldP spid="254" grpId="0"/>
      <p:bldP spid="255" grpId="0"/>
      <p:bldP spid="256" grpId="0"/>
      <p:bldP spid="257" grpId="0"/>
      <p:bldP spid="258" grpId="0"/>
      <p:bldP spid="26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1">
            <a:extLst>
              <a:ext uri="{FF2B5EF4-FFF2-40B4-BE49-F238E27FC236}">
                <a16:creationId xmlns:a16="http://schemas.microsoft.com/office/drawing/2014/main" id="{033C2A2B-3671-E51B-AACD-C7065CBD57B8}"/>
              </a:ext>
            </a:extLst>
          </p:cNvPr>
          <p:cNvSpPr/>
          <p:nvPr/>
        </p:nvSpPr>
        <p:spPr>
          <a:xfrm>
            <a:off x="2145646" y="744888"/>
            <a:ext cx="4796615" cy="4434247"/>
          </a:xfrm>
          <a:custGeom>
            <a:avLst/>
            <a:gdLst>
              <a:gd name="connsiteX0" fmla="*/ 0 w 1981200"/>
              <a:gd name="connsiteY0" fmla="*/ 0 h 838200"/>
              <a:gd name="connsiteX1" fmla="*/ 1981200 w 1981200"/>
              <a:gd name="connsiteY1" fmla="*/ 0 h 838200"/>
              <a:gd name="connsiteX2" fmla="*/ 1981200 w 1981200"/>
              <a:gd name="connsiteY2" fmla="*/ 838200 h 838200"/>
              <a:gd name="connsiteX3" fmla="*/ 0 w 1981200"/>
              <a:gd name="connsiteY3" fmla="*/ 838200 h 838200"/>
              <a:gd name="connsiteX4" fmla="*/ 0 w 1981200"/>
              <a:gd name="connsiteY4" fmla="*/ 0 h 838200"/>
              <a:gd name="connsiteX0" fmla="*/ 0 w 2147977"/>
              <a:gd name="connsiteY0" fmla="*/ 0 h 838200"/>
              <a:gd name="connsiteX1" fmla="*/ 2147977 w 2147977"/>
              <a:gd name="connsiteY1" fmla="*/ 235788 h 838200"/>
              <a:gd name="connsiteX2" fmla="*/ 1981200 w 2147977"/>
              <a:gd name="connsiteY2" fmla="*/ 838200 h 838200"/>
              <a:gd name="connsiteX3" fmla="*/ 0 w 2147977"/>
              <a:gd name="connsiteY3" fmla="*/ 838200 h 838200"/>
              <a:gd name="connsiteX4" fmla="*/ 0 w 2147977"/>
              <a:gd name="connsiteY4" fmla="*/ 0 h 838200"/>
              <a:gd name="connsiteX0" fmla="*/ 293298 w 2147977"/>
              <a:gd name="connsiteY0" fmla="*/ 0 h 1315529"/>
              <a:gd name="connsiteX1" fmla="*/ 2147977 w 2147977"/>
              <a:gd name="connsiteY1" fmla="*/ 713117 h 1315529"/>
              <a:gd name="connsiteX2" fmla="*/ 1981200 w 2147977"/>
              <a:gd name="connsiteY2" fmla="*/ 1315529 h 1315529"/>
              <a:gd name="connsiteX3" fmla="*/ 0 w 2147977"/>
              <a:gd name="connsiteY3" fmla="*/ 1315529 h 1315529"/>
              <a:gd name="connsiteX4" fmla="*/ 293298 w 2147977"/>
              <a:gd name="connsiteY4" fmla="*/ 0 h 1315529"/>
              <a:gd name="connsiteX0" fmla="*/ 293298 w 2780581"/>
              <a:gd name="connsiteY0" fmla="*/ 0 h 1315529"/>
              <a:gd name="connsiteX1" fmla="*/ 2780581 w 2780581"/>
              <a:gd name="connsiteY1" fmla="*/ 690113 h 1315529"/>
              <a:gd name="connsiteX2" fmla="*/ 1981200 w 2780581"/>
              <a:gd name="connsiteY2" fmla="*/ 1315529 h 1315529"/>
              <a:gd name="connsiteX3" fmla="*/ 0 w 2780581"/>
              <a:gd name="connsiteY3" fmla="*/ 1315529 h 1315529"/>
              <a:gd name="connsiteX4" fmla="*/ 293298 w 2780581"/>
              <a:gd name="connsiteY4" fmla="*/ 0 h 1315529"/>
              <a:gd name="connsiteX0" fmla="*/ 293298 w 2780581"/>
              <a:gd name="connsiteY0" fmla="*/ 0 h 1315529"/>
              <a:gd name="connsiteX1" fmla="*/ 1775604 w 2780581"/>
              <a:gd name="connsiteY1" fmla="*/ 414070 h 1315529"/>
              <a:gd name="connsiteX2" fmla="*/ 2780581 w 2780581"/>
              <a:gd name="connsiteY2" fmla="*/ 690113 h 1315529"/>
              <a:gd name="connsiteX3" fmla="*/ 1981200 w 2780581"/>
              <a:gd name="connsiteY3" fmla="*/ 1315529 h 1315529"/>
              <a:gd name="connsiteX4" fmla="*/ 0 w 2780581"/>
              <a:gd name="connsiteY4" fmla="*/ 1315529 h 1315529"/>
              <a:gd name="connsiteX5" fmla="*/ 293298 w 2780581"/>
              <a:gd name="connsiteY5" fmla="*/ 0 h 1315529"/>
              <a:gd name="connsiteX0" fmla="*/ 293298 w 3081068"/>
              <a:gd name="connsiteY0" fmla="*/ 0 h 1315529"/>
              <a:gd name="connsiteX1" fmla="*/ 3081068 w 3081068"/>
              <a:gd name="connsiteY1" fmla="*/ 540591 h 1315529"/>
              <a:gd name="connsiteX2" fmla="*/ 2780581 w 3081068"/>
              <a:gd name="connsiteY2" fmla="*/ 690113 h 1315529"/>
              <a:gd name="connsiteX3" fmla="*/ 1981200 w 3081068"/>
              <a:gd name="connsiteY3" fmla="*/ 1315529 h 1315529"/>
              <a:gd name="connsiteX4" fmla="*/ 0 w 3081068"/>
              <a:gd name="connsiteY4" fmla="*/ 1315529 h 1315529"/>
              <a:gd name="connsiteX5" fmla="*/ 293298 w 3081068"/>
              <a:gd name="connsiteY5" fmla="*/ 0 h 1315529"/>
              <a:gd name="connsiteX0" fmla="*/ 293298 w 3081068"/>
              <a:gd name="connsiteY0" fmla="*/ 0 h 1315529"/>
              <a:gd name="connsiteX1" fmla="*/ 1930878 w 3081068"/>
              <a:gd name="connsiteY1" fmla="*/ 310553 h 1315529"/>
              <a:gd name="connsiteX2" fmla="*/ 3081068 w 3081068"/>
              <a:gd name="connsiteY2" fmla="*/ 540591 h 1315529"/>
              <a:gd name="connsiteX3" fmla="*/ 2780581 w 3081068"/>
              <a:gd name="connsiteY3" fmla="*/ 690113 h 1315529"/>
              <a:gd name="connsiteX4" fmla="*/ 1981200 w 3081068"/>
              <a:gd name="connsiteY4" fmla="*/ 1315529 h 1315529"/>
              <a:gd name="connsiteX5" fmla="*/ 0 w 3081068"/>
              <a:gd name="connsiteY5" fmla="*/ 1315529 h 1315529"/>
              <a:gd name="connsiteX6" fmla="*/ 293298 w 3081068"/>
              <a:gd name="connsiteY6" fmla="*/ 0 h 1315529"/>
              <a:gd name="connsiteX0" fmla="*/ 293298 w 3196086"/>
              <a:gd name="connsiteY0" fmla="*/ 0 h 1315529"/>
              <a:gd name="connsiteX1" fmla="*/ 3196086 w 3196086"/>
              <a:gd name="connsiteY1" fmla="*/ 69014 h 1315529"/>
              <a:gd name="connsiteX2" fmla="*/ 3081068 w 3196086"/>
              <a:gd name="connsiteY2" fmla="*/ 540591 h 1315529"/>
              <a:gd name="connsiteX3" fmla="*/ 2780581 w 3196086"/>
              <a:gd name="connsiteY3" fmla="*/ 690113 h 1315529"/>
              <a:gd name="connsiteX4" fmla="*/ 1981200 w 3196086"/>
              <a:gd name="connsiteY4" fmla="*/ 1315529 h 1315529"/>
              <a:gd name="connsiteX5" fmla="*/ 0 w 3196086"/>
              <a:gd name="connsiteY5" fmla="*/ 1315529 h 1315529"/>
              <a:gd name="connsiteX6" fmla="*/ 293298 w 3196086"/>
              <a:gd name="connsiteY6" fmla="*/ 0 h 1315529"/>
              <a:gd name="connsiteX0" fmla="*/ 293298 w 3196086"/>
              <a:gd name="connsiteY0" fmla="*/ 0 h 1315529"/>
              <a:gd name="connsiteX1" fmla="*/ 1959633 w 3196086"/>
              <a:gd name="connsiteY1" fmla="*/ 46010 h 1315529"/>
              <a:gd name="connsiteX2" fmla="*/ 3196086 w 3196086"/>
              <a:gd name="connsiteY2" fmla="*/ 69014 h 1315529"/>
              <a:gd name="connsiteX3" fmla="*/ 3081068 w 3196086"/>
              <a:gd name="connsiteY3" fmla="*/ 540591 h 1315529"/>
              <a:gd name="connsiteX4" fmla="*/ 2780581 w 3196086"/>
              <a:gd name="connsiteY4" fmla="*/ 690113 h 1315529"/>
              <a:gd name="connsiteX5" fmla="*/ 1981200 w 3196086"/>
              <a:gd name="connsiteY5" fmla="*/ 1315529 h 1315529"/>
              <a:gd name="connsiteX6" fmla="*/ 0 w 3196086"/>
              <a:gd name="connsiteY6" fmla="*/ 1315529 h 1315529"/>
              <a:gd name="connsiteX7" fmla="*/ 293298 w 3196086"/>
              <a:gd name="connsiteY7" fmla="*/ 0 h 1315529"/>
              <a:gd name="connsiteX0" fmla="*/ 293298 w 3265097"/>
              <a:gd name="connsiteY0" fmla="*/ 195530 h 1511059"/>
              <a:gd name="connsiteX1" fmla="*/ 3265097 w 3265097"/>
              <a:gd name="connsiteY1" fmla="*/ 0 h 1511059"/>
              <a:gd name="connsiteX2" fmla="*/ 3196086 w 3265097"/>
              <a:gd name="connsiteY2" fmla="*/ 264544 h 1511059"/>
              <a:gd name="connsiteX3" fmla="*/ 3081068 w 3265097"/>
              <a:gd name="connsiteY3" fmla="*/ 736121 h 1511059"/>
              <a:gd name="connsiteX4" fmla="*/ 2780581 w 3265097"/>
              <a:gd name="connsiteY4" fmla="*/ 885643 h 1511059"/>
              <a:gd name="connsiteX5" fmla="*/ 1981200 w 3265097"/>
              <a:gd name="connsiteY5" fmla="*/ 1511059 h 1511059"/>
              <a:gd name="connsiteX6" fmla="*/ 0 w 3265097"/>
              <a:gd name="connsiteY6" fmla="*/ 1511059 h 1511059"/>
              <a:gd name="connsiteX7" fmla="*/ 293298 w 3265097"/>
              <a:gd name="connsiteY7" fmla="*/ 195530 h 1511059"/>
              <a:gd name="connsiteX0" fmla="*/ 293298 w 3265097"/>
              <a:gd name="connsiteY0" fmla="*/ 195530 h 1511059"/>
              <a:gd name="connsiteX1" fmla="*/ 1907874 w 3265097"/>
              <a:gd name="connsiteY1" fmla="*/ 86264 h 1511059"/>
              <a:gd name="connsiteX2" fmla="*/ 3265097 w 3265097"/>
              <a:gd name="connsiteY2" fmla="*/ 0 h 1511059"/>
              <a:gd name="connsiteX3" fmla="*/ 3196086 w 3265097"/>
              <a:gd name="connsiteY3" fmla="*/ 264544 h 1511059"/>
              <a:gd name="connsiteX4" fmla="*/ 3081068 w 3265097"/>
              <a:gd name="connsiteY4" fmla="*/ 736121 h 1511059"/>
              <a:gd name="connsiteX5" fmla="*/ 2780581 w 3265097"/>
              <a:gd name="connsiteY5" fmla="*/ 885643 h 1511059"/>
              <a:gd name="connsiteX6" fmla="*/ 1981200 w 3265097"/>
              <a:gd name="connsiteY6" fmla="*/ 1511059 h 1511059"/>
              <a:gd name="connsiteX7" fmla="*/ 0 w 3265097"/>
              <a:gd name="connsiteY7" fmla="*/ 1511059 h 1511059"/>
              <a:gd name="connsiteX8" fmla="*/ 293298 w 3265097"/>
              <a:gd name="connsiteY8" fmla="*/ 195530 h 1511059"/>
              <a:gd name="connsiteX0" fmla="*/ 293298 w 3265097"/>
              <a:gd name="connsiteY0" fmla="*/ 425568 h 1741097"/>
              <a:gd name="connsiteX1" fmla="*/ 3196086 w 3265097"/>
              <a:gd name="connsiteY1" fmla="*/ 0 h 1741097"/>
              <a:gd name="connsiteX2" fmla="*/ 1907874 w 3265097"/>
              <a:gd name="connsiteY2" fmla="*/ 316302 h 1741097"/>
              <a:gd name="connsiteX3" fmla="*/ 3265097 w 3265097"/>
              <a:gd name="connsiteY3" fmla="*/ 230038 h 1741097"/>
              <a:gd name="connsiteX4" fmla="*/ 3196086 w 3265097"/>
              <a:gd name="connsiteY4" fmla="*/ 494582 h 1741097"/>
              <a:gd name="connsiteX5" fmla="*/ 3081068 w 3265097"/>
              <a:gd name="connsiteY5" fmla="*/ 966159 h 1741097"/>
              <a:gd name="connsiteX6" fmla="*/ 2780581 w 3265097"/>
              <a:gd name="connsiteY6" fmla="*/ 1115681 h 1741097"/>
              <a:gd name="connsiteX7" fmla="*/ 1981200 w 3265097"/>
              <a:gd name="connsiteY7" fmla="*/ 1741097 h 1741097"/>
              <a:gd name="connsiteX8" fmla="*/ 0 w 3265097"/>
              <a:gd name="connsiteY8" fmla="*/ 1741097 h 1741097"/>
              <a:gd name="connsiteX9" fmla="*/ 293298 w 3265097"/>
              <a:gd name="connsiteY9" fmla="*/ 425568 h 1741097"/>
              <a:gd name="connsiteX0" fmla="*/ 293298 w 3265097"/>
              <a:gd name="connsiteY0" fmla="*/ 195530 h 1511059"/>
              <a:gd name="connsiteX1" fmla="*/ 1907874 w 3265097"/>
              <a:gd name="connsiteY1" fmla="*/ 86264 h 1511059"/>
              <a:gd name="connsiteX2" fmla="*/ 3265097 w 3265097"/>
              <a:gd name="connsiteY2" fmla="*/ 0 h 1511059"/>
              <a:gd name="connsiteX3" fmla="*/ 3196086 w 3265097"/>
              <a:gd name="connsiteY3" fmla="*/ 264544 h 1511059"/>
              <a:gd name="connsiteX4" fmla="*/ 3081068 w 3265097"/>
              <a:gd name="connsiteY4" fmla="*/ 736121 h 1511059"/>
              <a:gd name="connsiteX5" fmla="*/ 2780581 w 3265097"/>
              <a:gd name="connsiteY5" fmla="*/ 885643 h 1511059"/>
              <a:gd name="connsiteX6" fmla="*/ 1981200 w 3265097"/>
              <a:gd name="connsiteY6" fmla="*/ 1511059 h 1511059"/>
              <a:gd name="connsiteX7" fmla="*/ 0 w 3265097"/>
              <a:gd name="connsiteY7" fmla="*/ 1511059 h 1511059"/>
              <a:gd name="connsiteX8" fmla="*/ 293298 w 3265097"/>
              <a:gd name="connsiteY8" fmla="*/ 195530 h 1511059"/>
              <a:gd name="connsiteX0" fmla="*/ 293298 w 3489384"/>
              <a:gd name="connsiteY0" fmla="*/ 575092 h 1890621"/>
              <a:gd name="connsiteX1" fmla="*/ 3489384 w 3489384"/>
              <a:gd name="connsiteY1" fmla="*/ 0 h 1890621"/>
              <a:gd name="connsiteX2" fmla="*/ 3265097 w 3489384"/>
              <a:gd name="connsiteY2" fmla="*/ 379562 h 1890621"/>
              <a:gd name="connsiteX3" fmla="*/ 3196086 w 3489384"/>
              <a:gd name="connsiteY3" fmla="*/ 644106 h 1890621"/>
              <a:gd name="connsiteX4" fmla="*/ 3081068 w 3489384"/>
              <a:gd name="connsiteY4" fmla="*/ 1115683 h 1890621"/>
              <a:gd name="connsiteX5" fmla="*/ 2780581 w 3489384"/>
              <a:gd name="connsiteY5" fmla="*/ 1265205 h 1890621"/>
              <a:gd name="connsiteX6" fmla="*/ 1981200 w 3489384"/>
              <a:gd name="connsiteY6" fmla="*/ 1890621 h 1890621"/>
              <a:gd name="connsiteX7" fmla="*/ 0 w 3489384"/>
              <a:gd name="connsiteY7" fmla="*/ 1890621 h 1890621"/>
              <a:gd name="connsiteX8" fmla="*/ 293298 w 3489384"/>
              <a:gd name="connsiteY8" fmla="*/ 575092 h 1890621"/>
              <a:gd name="connsiteX0" fmla="*/ 293298 w 3489384"/>
              <a:gd name="connsiteY0" fmla="*/ 586403 h 1901932"/>
              <a:gd name="connsiteX1" fmla="*/ 2258681 w 3489384"/>
              <a:gd name="connsiteY1" fmla="*/ 143583 h 1901932"/>
              <a:gd name="connsiteX2" fmla="*/ 3489384 w 3489384"/>
              <a:gd name="connsiteY2" fmla="*/ 11311 h 1901932"/>
              <a:gd name="connsiteX3" fmla="*/ 3265097 w 3489384"/>
              <a:gd name="connsiteY3" fmla="*/ 390873 h 1901932"/>
              <a:gd name="connsiteX4" fmla="*/ 3196086 w 3489384"/>
              <a:gd name="connsiteY4" fmla="*/ 655417 h 1901932"/>
              <a:gd name="connsiteX5" fmla="*/ 3081068 w 3489384"/>
              <a:gd name="connsiteY5" fmla="*/ 1126994 h 1901932"/>
              <a:gd name="connsiteX6" fmla="*/ 2780581 w 3489384"/>
              <a:gd name="connsiteY6" fmla="*/ 1276516 h 1901932"/>
              <a:gd name="connsiteX7" fmla="*/ 1981200 w 3489384"/>
              <a:gd name="connsiteY7" fmla="*/ 1901932 h 1901932"/>
              <a:gd name="connsiteX8" fmla="*/ 0 w 3489384"/>
              <a:gd name="connsiteY8" fmla="*/ 1901932 h 1901932"/>
              <a:gd name="connsiteX9" fmla="*/ 293298 w 3489384"/>
              <a:gd name="connsiteY9" fmla="*/ 586403 h 1901932"/>
              <a:gd name="connsiteX0" fmla="*/ 293298 w 3489384"/>
              <a:gd name="connsiteY0" fmla="*/ 1467592 h 2783121"/>
              <a:gd name="connsiteX1" fmla="*/ 3063813 w 3489384"/>
              <a:gd name="connsiteY1" fmla="*/ 6855 h 2783121"/>
              <a:gd name="connsiteX2" fmla="*/ 3489384 w 3489384"/>
              <a:gd name="connsiteY2" fmla="*/ 892500 h 2783121"/>
              <a:gd name="connsiteX3" fmla="*/ 3265097 w 3489384"/>
              <a:gd name="connsiteY3" fmla="*/ 1272062 h 2783121"/>
              <a:gd name="connsiteX4" fmla="*/ 3196086 w 3489384"/>
              <a:gd name="connsiteY4" fmla="*/ 1536606 h 2783121"/>
              <a:gd name="connsiteX5" fmla="*/ 3081068 w 3489384"/>
              <a:gd name="connsiteY5" fmla="*/ 2008183 h 2783121"/>
              <a:gd name="connsiteX6" fmla="*/ 2780581 w 3489384"/>
              <a:gd name="connsiteY6" fmla="*/ 2157705 h 2783121"/>
              <a:gd name="connsiteX7" fmla="*/ 1981200 w 3489384"/>
              <a:gd name="connsiteY7" fmla="*/ 2783121 h 2783121"/>
              <a:gd name="connsiteX8" fmla="*/ 0 w 3489384"/>
              <a:gd name="connsiteY8" fmla="*/ 2783121 h 2783121"/>
              <a:gd name="connsiteX9" fmla="*/ 293298 w 3489384"/>
              <a:gd name="connsiteY9" fmla="*/ 1467592 h 2783121"/>
              <a:gd name="connsiteX0" fmla="*/ 293298 w 3489384"/>
              <a:gd name="connsiteY0" fmla="*/ 575092 h 1890621"/>
              <a:gd name="connsiteX1" fmla="*/ 3489384 w 3489384"/>
              <a:gd name="connsiteY1" fmla="*/ 0 h 1890621"/>
              <a:gd name="connsiteX2" fmla="*/ 3265097 w 3489384"/>
              <a:gd name="connsiteY2" fmla="*/ 379562 h 1890621"/>
              <a:gd name="connsiteX3" fmla="*/ 3196086 w 3489384"/>
              <a:gd name="connsiteY3" fmla="*/ 644106 h 1890621"/>
              <a:gd name="connsiteX4" fmla="*/ 3081068 w 3489384"/>
              <a:gd name="connsiteY4" fmla="*/ 1115683 h 1890621"/>
              <a:gd name="connsiteX5" fmla="*/ 2780581 w 3489384"/>
              <a:gd name="connsiteY5" fmla="*/ 1265205 h 1890621"/>
              <a:gd name="connsiteX6" fmla="*/ 1981200 w 3489384"/>
              <a:gd name="connsiteY6" fmla="*/ 1890621 h 1890621"/>
              <a:gd name="connsiteX7" fmla="*/ 0 w 3489384"/>
              <a:gd name="connsiteY7" fmla="*/ 1890621 h 1890621"/>
              <a:gd name="connsiteX8" fmla="*/ 293298 w 3489384"/>
              <a:gd name="connsiteY8" fmla="*/ 575092 h 1890621"/>
              <a:gd name="connsiteX0" fmla="*/ 293298 w 3489384"/>
              <a:gd name="connsiteY0" fmla="*/ 584002 h 1899531"/>
              <a:gd name="connsiteX1" fmla="*/ 2155164 w 3489384"/>
              <a:gd name="connsiteY1" fmla="*/ 158435 h 1899531"/>
              <a:gd name="connsiteX2" fmla="*/ 3489384 w 3489384"/>
              <a:gd name="connsiteY2" fmla="*/ 8910 h 1899531"/>
              <a:gd name="connsiteX3" fmla="*/ 3265097 w 3489384"/>
              <a:gd name="connsiteY3" fmla="*/ 388472 h 1899531"/>
              <a:gd name="connsiteX4" fmla="*/ 3196086 w 3489384"/>
              <a:gd name="connsiteY4" fmla="*/ 653016 h 1899531"/>
              <a:gd name="connsiteX5" fmla="*/ 3081068 w 3489384"/>
              <a:gd name="connsiteY5" fmla="*/ 1124593 h 1899531"/>
              <a:gd name="connsiteX6" fmla="*/ 2780581 w 3489384"/>
              <a:gd name="connsiteY6" fmla="*/ 1274115 h 1899531"/>
              <a:gd name="connsiteX7" fmla="*/ 1981200 w 3489384"/>
              <a:gd name="connsiteY7" fmla="*/ 1899531 h 1899531"/>
              <a:gd name="connsiteX8" fmla="*/ 0 w 3489384"/>
              <a:gd name="connsiteY8" fmla="*/ 1899531 h 1899531"/>
              <a:gd name="connsiteX9" fmla="*/ 293298 w 3489384"/>
              <a:gd name="connsiteY9" fmla="*/ 584002 h 1899531"/>
              <a:gd name="connsiteX0" fmla="*/ 293298 w 3489384"/>
              <a:gd name="connsiteY0" fmla="*/ 1456149 h 2771678"/>
              <a:gd name="connsiteX1" fmla="*/ 3115572 w 3489384"/>
              <a:gd name="connsiteY1" fmla="*/ 6914 h 2771678"/>
              <a:gd name="connsiteX2" fmla="*/ 3489384 w 3489384"/>
              <a:gd name="connsiteY2" fmla="*/ 881057 h 2771678"/>
              <a:gd name="connsiteX3" fmla="*/ 3265097 w 3489384"/>
              <a:gd name="connsiteY3" fmla="*/ 1260619 h 2771678"/>
              <a:gd name="connsiteX4" fmla="*/ 3196086 w 3489384"/>
              <a:gd name="connsiteY4" fmla="*/ 1525163 h 2771678"/>
              <a:gd name="connsiteX5" fmla="*/ 3081068 w 3489384"/>
              <a:gd name="connsiteY5" fmla="*/ 1996740 h 2771678"/>
              <a:gd name="connsiteX6" fmla="*/ 2780581 w 3489384"/>
              <a:gd name="connsiteY6" fmla="*/ 2146262 h 2771678"/>
              <a:gd name="connsiteX7" fmla="*/ 1981200 w 3489384"/>
              <a:gd name="connsiteY7" fmla="*/ 2771678 h 2771678"/>
              <a:gd name="connsiteX8" fmla="*/ 0 w 3489384"/>
              <a:gd name="connsiteY8" fmla="*/ 2771678 h 2771678"/>
              <a:gd name="connsiteX9" fmla="*/ 293298 w 3489384"/>
              <a:gd name="connsiteY9" fmla="*/ 1456149 h 2771678"/>
              <a:gd name="connsiteX0" fmla="*/ 293298 w 3489384"/>
              <a:gd name="connsiteY0" fmla="*/ 1459651 h 2775180"/>
              <a:gd name="connsiteX1" fmla="*/ 2005640 w 3489384"/>
              <a:gd name="connsiteY1" fmla="*/ 470492 h 2775180"/>
              <a:gd name="connsiteX2" fmla="*/ 3115572 w 3489384"/>
              <a:gd name="connsiteY2" fmla="*/ 10416 h 2775180"/>
              <a:gd name="connsiteX3" fmla="*/ 3489384 w 3489384"/>
              <a:gd name="connsiteY3" fmla="*/ 884559 h 2775180"/>
              <a:gd name="connsiteX4" fmla="*/ 3265097 w 3489384"/>
              <a:gd name="connsiteY4" fmla="*/ 1264121 h 2775180"/>
              <a:gd name="connsiteX5" fmla="*/ 3196086 w 3489384"/>
              <a:gd name="connsiteY5" fmla="*/ 1528665 h 2775180"/>
              <a:gd name="connsiteX6" fmla="*/ 3081068 w 3489384"/>
              <a:gd name="connsiteY6" fmla="*/ 2000242 h 2775180"/>
              <a:gd name="connsiteX7" fmla="*/ 2780581 w 3489384"/>
              <a:gd name="connsiteY7" fmla="*/ 2149764 h 2775180"/>
              <a:gd name="connsiteX8" fmla="*/ 1981200 w 3489384"/>
              <a:gd name="connsiteY8" fmla="*/ 2775180 h 2775180"/>
              <a:gd name="connsiteX9" fmla="*/ 0 w 3489384"/>
              <a:gd name="connsiteY9" fmla="*/ 2775180 h 2775180"/>
              <a:gd name="connsiteX10" fmla="*/ 293298 w 3489384"/>
              <a:gd name="connsiteY10" fmla="*/ 1459651 h 2775180"/>
              <a:gd name="connsiteX0" fmla="*/ 293298 w 3489384"/>
              <a:gd name="connsiteY0" fmla="*/ 3224209 h 4539738"/>
              <a:gd name="connsiteX1" fmla="*/ 976222 w 3489384"/>
              <a:gd name="connsiteY1" fmla="*/ 20937 h 4539738"/>
              <a:gd name="connsiteX2" fmla="*/ 3115572 w 3489384"/>
              <a:gd name="connsiteY2" fmla="*/ 1774974 h 4539738"/>
              <a:gd name="connsiteX3" fmla="*/ 3489384 w 3489384"/>
              <a:gd name="connsiteY3" fmla="*/ 2649117 h 4539738"/>
              <a:gd name="connsiteX4" fmla="*/ 3265097 w 3489384"/>
              <a:gd name="connsiteY4" fmla="*/ 3028679 h 4539738"/>
              <a:gd name="connsiteX5" fmla="*/ 3196086 w 3489384"/>
              <a:gd name="connsiteY5" fmla="*/ 3293223 h 4539738"/>
              <a:gd name="connsiteX6" fmla="*/ 3081068 w 3489384"/>
              <a:gd name="connsiteY6" fmla="*/ 3764800 h 4539738"/>
              <a:gd name="connsiteX7" fmla="*/ 2780581 w 3489384"/>
              <a:gd name="connsiteY7" fmla="*/ 3914322 h 4539738"/>
              <a:gd name="connsiteX8" fmla="*/ 1981200 w 3489384"/>
              <a:gd name="connsiteY8" fmla="*/ 4539738 h 4539738"/>
              <a:gd name="connsiteX9" fmla="*/ 0 w 3489384"/>
              <a:gd name="connsiteY9" fmla="*/ 4539738 h 4539738"/>
              <a:gd name="connsiteX10" fmla="*/ 293298 w 3489384"/>
              <a:gd name="connsiteY10" fmla="*/ 3224209 h 4539738"/>
              <a:gd name="connsiteX0" fmla="*/ 293298 w 3489384"/>
              <a:gd name="connsiteY0" fmla="*/ 3228899 h 4544428"/>
              <a:gd name="connsiteX1" fmla="*/ 976222 w 3489384"/>
              <a:gd name="connsiteY1" fmla="*/ 25627 h 4544428"/>
              <a:gd name="connsiteX2" fmla="*/ 3115572 w 3489384"/>
              <a:gd name="connsiteY2" fmla="*/ 1779664 h 4544428"/>
              <a:gd name="connsiteX3" fmla="*/ 3489384 w 3489384"/>
              <a:gd name="connsiteY3" fmla="*/ 2653807 h 4544428"/>
              <a:gd name="connsiteX4" fmla="*/ 3265097 w 3489384"/>
              <a:gd name="connsiteY4" fmla="*/ 3033369 h 4544428"/>
              <a:gd name="connsiteX5" fmla="*/ 3196086 w 3489384"/>
              <a:gd name="connsiteY5" fmla="*/ 3297913 h 4544428"/>
              <a:gd name="connsiteX6" fmla="*/ 3081068 w 3489384"/>
              <a:gd name="connsiteY6" fmla="*/ 3769490 h 4544428"/>
              <a:gd name="connsiteX7" fmla="*/ 2780581 w 3489384"/>
              <a:gd name="connsiteY7" fmla="*/ 3919012 h 4544428"/>
              <a:gd name="connsiteX8" fmla="*/ 1981200 w 3489384"/>
              <a:gd name="connsiteY8" fmla="*/ 4544428 h 4544428"/>
              <a:gd name="connsiteX9" fmla="*/ 0 w 3489384"/>
              <a:gd name="connsiteY9" fmla="*/ 4544428 h 4544428"/>
              <a:gd name="connsiteX10" fmla="*/ 293298 w 3489384"/>
              <a:gd name="connsiteY10" fmla="*/ 3228899 h 4544428"/>
              <a:gd name="connsiteX0" fmla="*/ 293298 w 3489384"/>
              <a:gd name="connsiteY0" fmla="*/ 3240213 h 4555742"/>
              <a:gd name="connsiteX1" fmla="*/ 976222 w 3489384"/>
              <a:gd name="connsiteY1" fmla="*/ 36941 h 4555742"/>
              <a:gd name="connsiteX2" fmla="*/ 3115572 w 3489384"/>
              <a:gd name="connsiteY2" fmla="*/ 1790978 h 4555742"/>
              <a:gd name="connsiteX3" fmla="*/ 3489384 w 3489384"/>
              <a:gd name="connsiteY3" fmla="*/ 2665121 h 4555742"/>
              <a:gd name="connsiteX4" fmla="*/ 3265097 w 3489384"/>
              <a:gd name="connsiteY4" fmla="*/ 3044683 h 4555742"/>
              <a:gd name="connsiteX5" fmla="*/ 3196086 w 3489384"/>
              <a:gd name="connsiteY5" fmla="*/ 3309227 h 4555742"/>
              <a:gd name="connsiteX6" fmla="*/ 3081068 w 3489384"/>
              <a:gd name="connsiteY6" fmla="*/ 3780804 h 4555742"/>
              <a:gd name="connsiteX7" fmla="*/ 2780581 w 3489384"/>
              <a:gd name="connsiteY7" fmla="*/ 3930326 h 4555742"/>
              <a:gd name="connsiteX8" fmla="*/ 1981200 w 3489384"/>
              <a:gd name="connsiteY8" fmla="*/ 4555742 h 4555742"/>
              <a:gd name="connsiteX9" fmla="*/ 0 w 3489384"/>
              <a:gd name="connsiteY9" fmla="*/ 4555742 h 4555742"/>
              <a:gd name="connsiteX10" fmla="*/ 293298 w 3489384"/>
              <a:gd name="connsiteY10" fmla="*/ 3240213 h 4555742"/>
              <a:gd name="connsiteX0" fmla="*/ 293298 w 3489384"/>
              <a:gd name="connsiteY0" fmla="*/ 3206572 h 4522101"/>
              <a:gd name="connsiteX1" fmla="*/ 976222 w 3489384"/>
              <a:gd name="connsiteY1" fmla="*/ 37805 h 4522101"/>
              <a:gd name="connsiteX2" fmla="*/ 3115572 w 3489384"/>
              <a:gd name="connsiteY2" fmla="*/ 1757337 h 4522101"/>
              <a:gd name="connsiteX3" fmla="*/ 3489384 w 3489384"/>
              <a:gd name="connsiteY3" fmla="*/ 2631480 h 4522101"/>
              <a:gd name="connsiteX4" fmla="*/ 3265097 w 3489384"/>
              <a:gd name="connsiteY4" fmla="*/ 3011042 h 4522101"/>
              <a:gd name="connsiteX5" fmla="*/ 3196086 w 3489384"/>
              <a:gd name="connsiteY5" fmla="*/ 3275586 h 4522101"/>
              <a:gd name="connsiteX6" fmla="*/ 3081068 w 3489384"/>
              <a:gd name="connsiteY6" fmla="*/ 3747163 h 4522101"/>
              <a:gd name="connsiteX7" fmla="*/ 2780581 w 3489384"/>
              <a:gd name="connsiteY7" fmla="*/ 3896685 h 4522101"/>
              <a:gd name="connsiteX8" fmla="*/ 1981200 w 3489384"/>
              <a:gd name="connsiteY8" fmla="*/ 4522101 h 4522101"/>
              <a:gd name="connsiteX9" fmla="*/ 0 w 3489384"/>
              <a:gd name="connsiteY9" fmla="*/ 4522101 h 4522101"/>
              <a:gd name="connsiteX10" fmla="*/ 293298 w 3489384"/>
              <a:gd name="connsiteY10" fmla="*/ 3206572 h 4522101"/>
              <a:gd name="connsiteX0" fmla="*/ 293298 w 3489384"/>
              <a:gd name="connsiteY0" fmla="*/ 3223388 h 4538917"/>
              <a:gd name="connsiteX1" fmla="*/ 912961 w 3489384"/>
              <a:gd name="connsiteY1" fmla="*/ 37368 h 4538917"/>
              <a:gd name="connsiteX2" fmla="*/ 3115572 w 3489384"/>
              <a:gd name="connsiteY2" fmla="*/ 1774153 h 4538917"/>
              <a:gd name="connsiteX3" fmla="*/ 3489384 w 3489384"/>
              <a:gd name="connsiteY3" fmla="*/ 2648296 h 4538917"/>
              <a:gd name="connsiteX4" fmla="*/ 3265097 w 3489384"/>
              <a:gd name="connsiteY4" fmla="*/ 3027858 h 4538917"/>
              <a:gd name="connsiteX5" fmla="*/ 3196086 w 3489384"/>
              <a:gd name="connsiteY5" fmla="*/ 3292402 h 4538917"/>
              <a:gd name="connsiteX6" fmla="*/ 3081068 w 3489384"/>
              <a:gd name="connsiteY6" fmla="*/ 3763979 h 4538917"/>
              <a:gd name="connsiteX7" fmla="*/ 2780581 w 3489384"/>
              <a:gd name="connsiteY7" fmla="*/ 3913501 h 4538917"/>
              <a:gd name="connsiteX8" fmla="*/ 1981200 w 3489384"/>
              <a:gd name="connsiteY8" fmla="*/ 4538917 h 4538917"/>
              <a:gd name="connsiteX9" fmla="*/ 0 w 3489384"/>
              <a:gd name="connsiteY9" fmla="*/ 4538917 h 4538917"/>
              <a:gd name="connsiteX10" fmla="*/ 293298 w 3489384"/>
              <a:gd name="connsiteY10" fmla="*/ 3223388 h 4538917"/>
              <a:gd name="connsiteX0" fmla="*/ 293298 w 3489384"/>
              <a:gd name="connsiteY0" fmla="*/ 3215676 h 4531205"/>
              <a:gd name="connsiteX1" fmla="*/ 912961 w 3489384"/>
              <a:gd name="connsiteY1" fmla="*/ 29656 h 4531205"/>
              <a:gd name="connsiteX2" fmla="*/ 3115572 w 3489384"/>
              <a:gd name="connsiteY2" fmla="*/ 1766441 h 4531205"/>
              <a:gd name="connsiteX3" fmla="*/ 3489384 w 3489384"/>
              <a:gd name="connsiteY3" fmla="*/ 2640584 h 4531205"/>
              <a:gd name="connsiteX4" fmla="*/ 3265097 w 3489384"/>
              <a:gd name="connsiteY4" fmla="*/ 3020146 h 4531205"/>
              <a:gd name="connsiteX5" fmla="*/ 3196086 w 3489384"/>
              <a:gd name="connsiteY5" fmla="*/ 3284690 h 4531205"/>
              <a:gd name="connsiteX6" fmla="*/ 3081068 w 3489384"/>
              <a:gd name="connsiteY6" fmla="*/ 3756267 h 4531205"/>
              <a:gd name="connsiteX7" fmla="*/ 2780581 w 3489384"/>
              <a:gd name="connsiteY7" fmla="*/ 3905789 h 4531205"/>
              <a:gd name="connsiteX8" fmla="*/ 1981200 w 3489384"/>
              <a:gd name="connsiteY8" fmla="*/ 4531205 h 4531205"/>
              <a:gd name="connsiteX9" fmla="*/ 0 w 3489384"/>
              <a:gd name="connsiteY9" fmla="*/ 4531205 h 4531205"/>
              <a:gd name="connsiteX10" fmla="*/ 293298 w 3489384"/>
              <a:gd name="connsiteY10" fmla="*/ 3215676 h 4531205"/>
              <a:gd name="connsiteX0" fmla="*/ 293298 w 3489384"/>
              <a:gd name="connsiteY0" fmla="*/ 3215676 h 4531205"/>
              <a:gd name="connsiteX1" fmla="*/ 912961 w 3489384"/>
              <a:gd name="connsiteY1" fmla="*/ 29656 h 4531205"/>
              <a:gd name="connsiteX2" fmla="*/ 3115572 w 3489384"/>
              <a:gd name="connsiteY2" fmla="*/ 1766441 h 4531205"/>
              <a:gd name="connsiteX3" fmla="*/ 3489384 w 3489384"/>
              <a:gd name="connsiteY3" fmla="*/ 2640584 h 4531205"/>
              <a:gd name="connsiteX4" fmla="*/ 3265097 w 3489384"/>
              <a:gd name="connsiteY4" fmla="*/ 3020146 h 4531205"/>
              <a:gd name="connsiteX5" fmla="*/ 3196086 w 3489384"/>
              <a:gd name="connsiteY5" fmla="*/ 3284690 h 4531205"/>
              <a:gd name="connsiteX6" fmla="*/ 3081068 w 3489384"/>
              <a:gd name="connsiteY6" fmla="*/ 3756267 h 4531205"/>
              <a:gd name="connsiteX7" fmla="*/ 2780581 w 3489384"/>
              <a:gd name="connsiteY7" fmla="*/ 3905789 h 4531205"/>
              <a:gd name="connsiteX8" fmla="*/ 1981200 w 3489384"/>
              <a:gd name="connsiteY8" fmla="*/ 4531205 h 4531205"/>
              <a:gd name="connsiteX9" fmla="*/ 0 w 3489384"/>
              <a:gd name="connsiteY9" fmla="*/ 4531205 h 4531205"/>
              <a:gd name="connsiteX10" fmla="*/ 293298 w 3489384"/>
              <a:gd name="connsiteY10" fmla="*/ 3215676 h 4531205"/>
              <a:gd name="connsiteX0" fmla="*/ 672299 w 3868385"/>
              <a:gd name="connsiteY0" fmla="*/ 3215676 h 4531205"/>
              <a:gd name="connsiteX1" fmla="*/ 1291962 w 3868385"/>
              <a:gd name="connsiteY1" fmla="*/ 29656 h 4531205"/>
              <a:gd name="connsiteX2" fmla="*/ 3494573 w 3868385"/>
              <a:gd name="connsiteY2" fmla="*/ 1766441 h 4531205"/>
              <a:gd name="connsiteX3" fmla="*/ 3868385 w 3868385"/>
              <a:gd name="connsiteY3" fmla="*/ 2640584 h 4531205"/>
              <a:gd name="connsiteX4" fmla="*/ 3644098 w 3868385"/>
              <a:gd name="connsiteY4" fmla="*/ 3020146 h 4531205"/>
              <a:gd name="connsiteX5" fmla="*/ 3575087 w 3868385"/>
              <a:gd name="connsiteY5" fmla="*/ 3284690 h 4531205"/>
              <a:gd name="connsiteX6" fmla="*/ 3460069 w 3868385"/>
              <a:gd name="connsiteY6" fmla="*/ 3756267 h 4531205"/>
              <a:gd name="connsiteX7" fmla="*/ 3159582 w 3868385"/>
              <a:gd name="connsiteY7" fmla="*/ 3905789 h 4531205"/>
              <a:gd name="connsiteX8" fmla="*/ 2360201 w 3868385"/>
              <a:gd name="connsiteY8" fmla="*/ 4531205 h 4531205"/>
              <a:gd name="connsiteX9" fmla="*/ 379001 w 3868385"/>
              <a:gd name="connsiteY9" fmla="*/ 4531205 h 4531205"/>
              <a:gd name="connsiteX10" fmla="*/ 672299 w 3868385"/>
              <a:gd name="connsiteY10" fmla="*/ 3215676 h 4531205"/>
              <a:gd name="connsiteX0" fmla="*/ 780384 w 3976470"/>
              <a:gd name="connsiteY0" fmla="*/ 3215676 h 4531205"/>
              <a:gd name="connsiteX1" fmla="*/ 1400047 w 3976470"/>
              <a:gd name="connsiteY1" fmla="*/ 29656 h 4531205"/>
              <a:gd name="connsiteX2" fmla="*/ 3602658 w 3976470"/>
              <a:gd name="connsiteY2" fmla="*/ 1766441 h 4531205"/>
              <a:gd name="connsiteX3" fmla="*/ 3976470 w 3976470"/>
              <a:gd name="connsiteY3" fmla="*/ 2640584 h 4531205"/>
              <a:gd name="connsiteX4" fmla="*/ 3752183 w 3976470"/>
              <a:gd name="connsiteY4" fmla="*/ 3020146 h 4531205"/>
              <a:gd name="connsiteX5" fmla="*/ 3683172 w 3976470"/>
              <a:gd name="connsiteY5" fmla="*/ 3284690 h 4531205"/>
              <a:gd name="connsiteX6" fmla="*/ 3568154 w 3976470"/>
              <a:gd name="connsiteY6" fmla="*/ 3756267 h 4531205"/>
              <a:gd name="connsiteX7" fmla="*/ 3267667 w 3976470"/>
              <a:gd name="connsiteY7" fmla="*/ 3905789 h 4531205"/>
              <a:gd name="connsiteX8" fmla="*/ 2468286 w 3976470"/>
              <a:gd name="connsiteY8" fmla="*/ 4531205 h 4531205"/>
              <a:gd name="connsiteX9" fmla="*/ 487086 w 3976470"/>
              <a:gd name="connsiteY9" fmla="*/ 4531205 h 4531205"/>
              <a:gd name="connsiteX10" fmla="*/ 780384 w 3976470"/>
              <a:gd name="connsiteY10" fmla="*/ 3215676 h 4531205"/>
              <a:gd name="connsiteX0" fmla="*/ 765482 w 3961568"/>
              <a:gd name="connsiteY0" fmla="*/ 3215676 h 4531205"/>
              <a:gd name="connsiteX1" fmla="*/ 1385145 w 3961568"/>
              <a:gd name="connsiteY1" fmla="*/ 29656 h 4531205"/>
              <a:gd name="connsiteX2" fmla="*/ 3587756 w 3961568"/>
              <a:gd name="connsiteY2" fmla="*/ 1766441 h 4531205"/>
              <a:gd name="connsiteX3" fmla="*/ 3961568 w 3961568"/>
              <a:gd name="connsiteY3" fmla="*/ 2640584 h 4531205"/>
              <a:gd name="connsiteX4" fmla="*/ 3737281 w 3961568"/>
              <a:gd name="connsiteY4" fmla="*/ 3020146 h 4531205"/>
              <a:gd name="connsiteX5" fmla="*/ 3668270 w 3961568"/>
              <a:gd name="connsiteY5" fmla="*/ 3284690 h 4531205"/>
              <a:gd name="connsiteX6" fmla="*/ 3553252 w 3961568"/>
              <a:gd name="connsiteY6" fmla="*/ 3756267 h 4531205"/>
              <a:gd name="connsiteX7" fmla="*/ 3252765 w 3961568"/>
              <a:gd name="connsiteY7" fmla="*/ 3905789 h 4531205"/>
              <a:gd name="connsiteX8" fmla="*/ 2453384 w 3961568"/>
              <a:gd name="connsiteY8" fmla="*/ 4531205 h 4531205"/>
              <a:gd name="connsiteX9" fmla="*/ 472184 w 3961568"/>
              <a:gd name="connsiteY9" fmla="*/ 4531205 h 4531205"/>
              <a:gd name="connsiteX10" fmla="*/ 765482 w 3961568"/>
              <a:gd name="connsiteY10" fmla="*/ 3215676 h 4531205"/>
              <a:gd name="connsiteX0" fmla="*/ 760699 w 3956785"/>
              <a:gd name="connsiteY0" fmla="*/ 3215676 h 4531205"/>
              <a:gd name="connsiteX1" fmla="*/ 1380362 w 3956785"/>
              <a:gd name="connsiteY1" fmla="*/ 29656 h 4531205"/>
              <a:gd name="connsiteX2" fmla="*/ 3582973 w 3956785"/>
              <a:gd name="connsiteY2" fmla="*/ 1766441 h 4531205"/>
              <a:gd name="connsiteX3" fmla="*/ 3956785 w 3956785"/>
              <a:gd name="connsiteY3" fmla="*/ 2640584 h 4531205"/>
              <a:gd name="connsiteX4" fmla="*/ 3732498 w 3956785"/>
              <a:gd name="connsiteY4" fmla="*/ 3020146 h 4531205"/>
              <a:gd name="connsiteX5" fmla="*/ 3663487 w 3956785"/>
              <a:gd name="connsiteY5" fmla="*/ 3284690 h 4531205"/>
              <a:gd name="connsiteX6" fmla="*/ 3548469 w 3956785"/>
              <a:gd name="connsiteY6" fmla="*/ 3756267 h 4531205"/>
              <a:gd name="connsiteX7" fmla="*/ 3247982 w 3956785"/>
              <a:gd name="connsiteY7" fmla="*/ 3905789 h 4531205"/>
              <a:gd name="connsiteX8" fmla="*/ 2448601 w 3956785"/>
              <a:gd name="connsiteY8" fmla="*/ 4531205 h 4531205"/>
              <a:gd name="connsiteX9" fmla="*/ 467401 w 3956785"/>
              <a:gd name="connsiteY9" fmla="*/ 4531205 h 4531205"/>
              <a:gd name="connsiteX10" fmla="*/ 760699 w 3956785"/>
              <a:gd name="connsiteY10" fmla="*/ 3215676 h 4531205"/>
              <a:gd name="connsiteX0" fmla="*/ 662343 w 4122972"/>
              <a:gd name="connsiteY0" fmla="*/ 2824612 h 4531205"/>
              <a:gd name="connsiteX1" fmla="*/ 1546549 w 4122972"/>
              <a:gd name="connsiteY1" fmla="*/ 29656 h 4531205"/>
              <a:gd name="connsiteX2" fmla="*/ 3749160 w 4122972"/>
              <a:gd name="connsiteY2" fmla="*/ 1766441 h 4531205"/>
              <a:gd name="connsiteX3" fmla="*/ 4122972 w 4122972"/>
              <a:gd name="connsiteY3" fmla="*/ 2640584 h 4531205"/>
              <a:gd name="connsiteX4" fmla="*/ 3898685 w 4122972"/>
              <a:gd name="connsiteY4" fmla="*/ 3020146 h 4531205"/>
              <a:gd name="connsiteX5" fmla="*/ 3829674 w 4122972"/>
              <a:gd name="connsiteY5" fmla="*/ 3284690 h 4531205"/>
              <a:gd name="connsiteX6" fmla="*/ 3714656 w 4122972"/>
              <a:gd name="connsiteY6" fmla="*/ 3756267 h 4531205"/>
              <a:gd name="connsiteX7" fmla="*/ 3414169 w 4122972"/>
              <a:gd name="connsiteY7" fmla="*/ 3905789 h 4531205"/>
              <a:gd name="connsiteX8" fmla="*/ 2614788 w 4122972"/>
              <a:gd name="connsiteY8" fmla="*/ 4531205 h 4531205"/>
              <a:gd name="connsiteX9" fmla="*/ 633588 w 4122972"/>
              <a:gd name="connsiteY9" fmla="*/ 4531205 h 4531205"/>
              <a:gd name="connsiteX10" fmla="*/ 662343 w 4122972"/>
              <a:gd name="connsiteY10" fmla="*/ 2824612 h 4531205"/>
              <a:gd name="connsiteX0" fmla="*/ 520499 w 3981128"/>
              <a:gd name="connsiteY0" fmla="*/ 2824612 h 4531205"/>
              <a:gd name="connsiteX1" fmla="*/ 1404705 w 3981128"/>
              <a:gd name="connsiteY1" fmla="*/ 29656 h 4531205"/>
              <a:gd name="connsiteX2" fmla="*/ 3607316 w 3981128"/>
              <a:gd name="connsiteY2" fmla="*/ 1766441 h 4531205"/>
              <a:gd name="connsiteX3" fmla="*/ 3981128 w 3981128"/>
              <a:gd name="connsiteY3" fmla="*/ 2640584 h 4531205"/>
              <a:gd name="connsiteX4" fmla="*/ 3756841 w 3981128"/>
              <a:gd name="connsiteY4" fmla="*/ 3020146 h 4531205"/>
              <a:gd name="connsiteX5" fmla="*/ 3687830 w 3981128"/>
              <a:gd name="connsiteY5" fmla="*/ 3284690 h 4531205"/>
              <a:gd name="connsiteX6" fmla="*/ 3572812 w 3981128"/>
              <a:gd name="connsiteY6" fmla="*/ 3756267 h 4531205"/>
              <a:gd name="connsiteX7" fmla="*/ 3272325 w 3981128"/>
              <a:gd name="connsiteY7" fmla="*/ 3905789 h 4531205"/>
              <a:gd name="connsiteX8" fmla="*/ 2472944 w 3981128"/>
              <a:gd name="connsiteY8" fmla="*/ 4531205 h 4531205"/>
              <a:gd name="connsiteX9" fmla="*/ 491744 w 3981128"/>
              <a:gd name="connsiteY9" fmla="*/ 4531205 h 4531205"/>
              <a:gd name="connsiteX10" fmla="*/ 520499 w 3981128"/>
              <a:gd name="connsiteY10" fmla="*/ 2824612 h 4531205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0499 w 3981128"/>
              <a:gd name="connsiteY0" fmla="*/ 2820990 h 4527583"/>
              <a:gd name="connsiteX1" fmla="*/ 1404705 w 3981128"/>
              <a:gd name="connsiteY1" fmla="*/ 26034 h 4527583"/>
              <a:gd name="connsiteX2" fmla="*/ 3607316 w 3981128"/>
              <a:gd name="connsiteY2" fmla="*/ 1762819 h 4527583"/>
              <a:gd name="connsiteX3" fmla="*/ 3981128 w 3981128"/>
              <a:gd name="connsiteY3" fmla="*/ 2636962 h 4527583"/>
              <a:gd name="connsiteX4" fmla="*/ 3756841 w 3981128"/>
              <a:gd name="connsiteY4" fmla="*/ 3016524 h 4527583"/>
              <a:gd name="connsiteX5" fmla="*/ 3687830 w 3981128"/>
              <a:gd name="connsiteY5" fmla="*/ 3281068 h 4527583"/>
              <a:gd name="connsiteX6" fmla="*/ 3572812 w 3981128"/>
              <a:gd name="connsiteY6" fmla="*/ 3752645 h 4527583"/>
              <a:gd name="connsiteX7" fmla="*/ 3272325 w 3981128"/>
              <a:gd name="connsiteY7" fmla="*/ 3902167 h 4527583"/>
              <a:gd name="connsiteX8" fmla="*/ 2472944 w 3981128"/>
              <a:gd name="connsiteY8" fmla="*/ 4527583 h 4527583"/>
              <a:gd name="connsiteX9" fmla="*/ 491744 w 3981128"/>
              <a:gd name="connsiteY9" fmla="*/ 4527583 h 4527583"/>
              <a:gd name="connsiteX10" fmla="*/ 520499 w 3981128"/>
              <a:gd name="connsiteY10" fmla="*/ 2820990 h 4527583"/>
              <a:gd name="connsiteX0" fmla="*/ 528868 w 3966493"/>
              <a:gd name="connsiteY0" fmla="*/ 2861247 h 4527583"/>
              <a:gd name="connsiteX1" fmla="*/ 1390070 w 3966493"/>
              <a:gd name="connsiteY1" fmla="*/ 26034 h 4527583"/>
              <a:gd name="connsiteX2" fmla="*/ 3592681 w 3966493"/>
              <a:gd name="connsiteY2" fmla="*/ 1762819 h 4527583"/>
              <a:gd name="connsiteX3" fmla="*/ 3966493 w 3966493"/>
              <a:gd name="connsiteY3" fmla="*/ 2636962 h 4527583"/>
              <a:gd name="connsiteX4" fmla="*/ 3742206 w 3966493"/>
              <a:gd name="connsiteY4" fmla="*/ 3016524 h 4527583"/>
              <a:gd name="connsiteX5" fmla="*/ 3673195 w 3966493"/>
              <a:gd name="connsiteY5" fmla="*/ 3281068 h 4527583"/>
              <a:gd name="connsiteX6" fmla="*/ 3558177 w 3966493"/>
              <a:gd name="connsiteY6" fmla="*/ 3752645 h 4527583"/>
              <a:gd name="connsiteX7" fmla="*/ 3257690 w 3966493"/>
              <a:gd name="connsiteY7" fmla="*/ 3902167 h 4527583"/>
              <a:gd name="connsiteX8" fmla="*/ 2458309 w 3966493"/>
              <a:gd name="connsiteY8" fmla="*/ 4527583 h 4527583"/>
              <a:gd name="connsiteX9" fmla="*/ 477109 w 3966493"/>
              <a:gd name="connsiteY9" fmla="*/ 4527583 h 4527583"/>
              <a:gd name="connsiteX10" fmla="*/ 528868 w 3966493"/>
              <a:gd name="connsiteY10" fmla="*/ 2861247 h 4527583"/>
              <a:gd name="connsiteX0" fmla="*/ 528868 w 3966493"/>
              <a:gd name="connsiteY0" fmla="*/ 2861247 h 4527583"/>
              <a:gd name="connsiteX1" fmla="*/ 1390070 w 3966493"/>
              <a:gd name="connsiteY1" fmla="*/ 26034 h 4527583"/>
              <a:gd name="connsiteX2" fmla="*/ 3592681 w 3966493"/>
              <a:gd name="connsiteY2" fmla="*/ 1762819 h 4527583"/>
              <a:gd name="connsiteX3" fmla="*/ 3966493 w 3966493"/>
              <a:gd name="connsiteY3" fmla="*/ 2636962 h 4527583"/>
              <a:gd name="connsiteX4" fmla="*/ 3742206 w 3966493"/>
              <a:gd name="connsiteY4" fmla="*/ 3016524 h 4527583"/>
              <a:gd name="connsiteX5" fmla="*/ 3673195 w 3966493"/>
              <a:gd name="connsiteY5" fmla="*/ 3281068 h 4527583"/>
              <a:gd name="connsiteX6" fmla="*/ 3558177 w 3966493"/>
              <a:gd name="connsiteY6" fmla="*/ 3752645 h 4527583"/>
              <a:gd name="connsiteX7" fmla="*/ 3257690 w 3966493"/>
              <a:gd name="connsiteY7" fmla="*/ 3902167 h 4527583"/>
              <a:gd name="connsiteX8" fmla="*/ 2458309 w 3966493"/>
              <a:gd name="connsiteY8" fmla="*/ 4527583 h 4527583"/>
              <a:gd name="connsiteX9" fmla="*/ 477109 w 3966493"/>
              <a:gd name="connsiteY9" fmla="*/ 4527583 h 4527583"/>
              <a:gd name="connsiteX10" fmla="*/ 528868 w 3966493"/>
              <a:gd name="connsiteY10" fmla="*/ 2861247 h 4527583"/>
              <a:gd name="connsiteX0" fmla="*/ 546113 w 3983738"/>
              <a:gd name="connsiteY0" fmla="*/ 2861247 h 4527583"/>
              <a:gd name="connsiteX1" fmla="*/ 1407315 w 3983738"/>
              <a:gd name="connsiteY1" fmla="*/ 26034 h 4527583"/>
              <a:gd name="connsiteX2" fmla="*/ 3609926 w 3983738"/>
              <a:gd name="connsiteY2" fmla="*/ 1762819 h 4527583"/>
              <a:gd name="connsiteX3" fmla="*/ 3983738 w 3983738"/>
              <a:gd name="connsiteY3" fmla="*/ 2636962 h 4527583"/>
              <a:gd name="connsiteX4" fmla="*/ 3759451 w 3983738"/>
              <a:gd name="connsiteY4" fmla="*/ 3016524 h 4527583"/>
              <a:gd name="connsiteX5" fmla="*/ 3690440 w 3983738"/>
              <a:gd name="connsiteY5" fmla="*/ 3281068 h 4527583"/>
              <a:gd name="connsiteX6" fmla="*/ 3575422 w 3983738"/>
              <a:gd name="connsiteY6" fmla="*/ 3752645 h 4527583"/>
              <a:gd name="connsiteX7" fmla="*/ 3274935 w 3983738"/>
              <a:gd name="connsiteY7" fmla="*/ 3902167 h 4527583"/>
              <a:gd name="connsiteX8" fmla="*/ 2475554 w 3983738"/>
              <a:gd name="connsiteY8" fmla="*/ 4527583 h 4527583"/>
              <a:gd name="connsiteX9" fmla="*/ 494354 w 3983738"/>
              <a:gd name="connsiteY9" fmla="*/ 4527583 h 4527583"/>
              <a:gd name="connsiteX10" fmla="*/ 546113 w 3983738"/>
              <a:gd name="connsiteY10" fmla="*/ 2861247 h 4527583"/>
              <a:gd name="connsiteX0" fmla="*/ 546113 w 3983738"/>
              <a:gd name="connsiteY0" fmla="*/ 2861247 h 4527583"/>
              <a:gd name="connsiteX1" fmla="*/ 1407315 w 3983738"/>
              <a:gd name="connsiteY1" fmla="*/ 26034 h 4527583"/>
              <a:gd name="connsiteX2" fmla="*/ 3609926 w 3983738"/>
              <a:gd name="connsiteY2" fmla="*/ 1762819 h 4527583"/>
              <a:gd name="connsiteX3" fmla="*/ 3983738 w 3983738"/>
              <a:gd name="connsiteY3" fmla="*/ 2636962 h 4527583"/>
              <a:gd name="connsiteX4" fmla="*/ 3759451 w 3983738"/>
              <a:gd name="connsiteY4" fmla="*/ 3016524 h 4527583"/>
              <a:gd name="connsiteX5" fmla="*/ 3690440 w 3983738"/>
              <a:gd name="connsiteY5" fmla="*/ 3281068 h 4527583"/>
              <a:gd name="connsiteX6" fmla="*/ 3575422 w 3983738"/>
              <a:gd name="connsiteY6" fmla="*/ 3752645 h 4527583"/>
              <a:gd name="connsiteX7" fmla="*/ 3274935 w 3983738"/>
              <a:gd name="connsiteY7" fmla="*/ 3902167 h 4527583"/>
              <a:gd name="connsiteX8" fmla="*/ 2475554 w 3983738"/>
              <a:gd name="connsiteY8" fmla="*/ 4527583 h 4527583"/>
              <a:gd name="connsiteX9" fmla="*/ 494354 w 3983738"/>
              <a:gd name="connsiteY9" fmla="*/ 4527583 h 4527583"/>
              <a:gd name="connsiteX10" fmla="*/ 546113 w 3983738"/>
              <a:gd name="connsiteY10" fmla="*/ 2861247 h 4527583"/>
              <a:gd name="connsiteX0" fmla="*/ 544025 w 3987401"/>
              <a:gd name="connsiteY0" fmla="*/ 2855496 h 4527583"/>
              <a:gd name="connsiteX1" fmla="*/ 1410978 w 3987401"/>
              <a:gd name="connsiteY1" fmla="*/ 26034 h 4527583"/>
              <a:gd name="connsiteX2" fmla="*/ 3613589 w 3987401"/>
              <a:gd name="connsiteY2" fmla="*/ 1762819 h 4527583"/>
              <a:gd name="connsiteX3" fmla="*/ 3987401 w 3987401"/>
              <a:gd name="connsiteY3" fmla="*/ 2636962 h 4527583"/>
              <a:gd name="connsiteX4" fmla="*/ 3763114 w 3987401"/>
              <a:gd name="connsiteY4" fmla="*/ 3016524 h 4527583"/>
              <a:gd name="connsiteX5" fmla="*/ 3694103 w 3987401"/>
              <a:gd name="connsiteY5" fmla="*/ 3281068 h 4527583"/>
              <a:gd name="connsiteX6" fmla="*/ 3579085 w 3987401"/>
              <a:gd name="connsiteY6" fmla="*/ 3752645 h 4527583"/>
              <a:gd name="connsiteX7" fmla="*/ 3278598 w 3987401"/>
              <a:gd name="connsiteY7" fmla="*/ 3902167 h 4527583"/>
              <a:gd name="connsiteX8" fmla="*/ 2479217 w 3987401"/>
              <a:gd name="connsiteY8" fmla="*/ 4527583 h 4527583"/>
              <a:gd name="connsiteX9" fmla="*/ 498017 w 3987401"/>
              <a:gd name="connsiteY9" fmla="*/ 4527583 h 4527583"/>
              <a:gd name="connsiteX10" fmla="*/ 544025 w 3987401"/>
              <a:gd name="connsiteY10" fmla="*/ 2855496 h 4527583"/>
              <a:gd name="connsiteX0" fmla="*/ 399265 w 4331471"/>
              <a:gd name="connsiteY0" fmla="*/ 1900839 h 4527583"/>
              <a:gd name="connsiteX1" fmla="*/ 1755048 w 4331471"/>
              <a:gd name="connsiteY1" fmla="*/ 26034 h 4527583"/>
              <a:gd name="connsiteX2" fmla="*/ 3957659 w 4331471"/>
              <a:gd name="connsiteY2" fmla="*/ 1762819 h 4527583"/>
              <a:gd name="connsiteX3" fmla="*/ 4331471 w 4331471"/>
              <a:gd name="connsiteY3" fmla="*/ 2636962 h 4527583"/>
              <a:gd name="connsiteX4" fmla="*/ 4107184 w 4331471"/>
              <a:gd name="connsiteY4" fmla="*/ 3016524 h 4527583"/>
              <a:gd name="connsiteX5" fmla="*/ 4038173 w 4331471"/>
              <a:gd name="connsiteY5" fmla="*/ 3281068 h 4527583"/>
              <a:gd name="connsiteX6" fmla="*/ 3923155 w 4331471"/>
              <a:gd name="connsiteY6" fmla="*/ 3752645 h 4527583"/>
              <a:gd name="connsiteX7" fmla="*/ 3622668 w 4331471"/>
              <a:gd name="connsiteY7" fmla="*/ 3902167 h 4527583"/>
              <a:gd name="connsiteX8" fmla="*/ 2823287 w 4331471"/>
              <a:gd name="connsiteY8" fmla="*/ 4527583 h 4527583"/>
              <a:gd name="connsiteX9" fmla="*/ 842087 w 4331471"/>
              <a:gd name="connsiteY9" fmla="*/ 4527583 h 4527583"/>
              <a:gd name="connsiteX10" fmla="*/ 399265 w 4331471"/>
              <a:gd name="connsiteY10" fmla="*/ 1900839 h 4527583"/>
              <a:gd name="connsiteX0" fmla="*/ 399265 w 4331471"/>
              <a:gd name="connsiteY0" fmla="*/ 1900839 h 4527583"/>
              <a:gd name="connsiteX1" fmla="*/ 1755048 w 4331471"/>
              <a:gd name="connsiteY1" fmla="*/ 26034 h 4527583"/>
              <a:gd name="connsiteX2" fmla="*/ 3957659 w 4331471"/>
              <a:gd name="connsiteY2" fmla="*/ 1762819 h 4527583"/>
              <a:gd name="connsiteX3" fmla="*/ 4331471 w 4331471"/>
              <a:gd name="connsiteY3" fmla="*/ 2636962 h 4527583"/>
              <a:gd name="connsiteX4" fmla="*/ 4107184 w 4331471"/>
              <a:gd name="connsiteY4" fmla="*/ 3016524 h 4527583"/>
              <a:gd name="connsiteX5" fmla="*/ 4038173 w 4331471"/>
              <a:gd name="connsiteY5" fmla="*/ 3281068 h 4527583"/>
              <a:gd name="connsiteX6" fmla="*/ 3923155 w 4331471"/>
              <a:gd name="connsiteY6" fmla="*/ 3752645 h 4527583"/>
              <a:gd name="connsiteX7" fmla="*/ 3622668 w 4331471"/>
              <a:gd name="connsiteY7" fmla="*/ 3902167 h 4527583"/>
              <a:gd name="connsiteX8" fmla="*/ 2823287 w 4331471"/>
              <a:gd name="connsiteY8" fmla="*/ 4527583 h 4527583"/>
              <a:gd name="connsiteX9" fmla="*/ 842087 w 4331471"/>
              <a:gd name="connsiteY9" fmla="*/ 4527583 h 4527583"/>
              <a:gd name="connsiteX10" fmla="*/ 875155 w 4331471"/>
              <a:gd name="connsiteY10" fmla="*/ 3252314 h 4527583"/>
              <a:gd name="connsiteX11" fmla="*/ 399265 w 4331471"/>
              <a:gd name="connsiteY11" fmla="*/ 1900839 h 4527583"/>
              <a:gd name="connsiteX0" fmla="*/ 399265 w 4331471"/>
              <a:gd name="connsiteY0" fmla="*/ 1900839 h 4527583"/>
              <a:gd name="connsiteX1" fmla="*/ 1755048 w 4331471"/>
              <a:gd name="connsiteY1" fmla="*/ 26034 h 4527583"/>
              <a:gd name="connsiteX2" fmla="*/ 3957659 w 4331471"/>
              <a:gd name="connsiteY2" fmla="*/ 1762819 h 4527583"/>
              <a:gd name="connsiteX3" fmla="*/ 4331471 w 4331471"/>
              <a:gd name="connsiteY3" fmla="*/ 2636962 h 4527583"/>
              <a:gd name="connsiteX4" fmla="*/ 4107184 w 4331471"/>
              <a:gd name="connsiteY4" fmla="*/ 3016524 h 4527583"/>
              <a:gd name="connsiteX5" fmla="*/ 4038173 w 4331471"/>
              <a:gd name="connsiteY5" fmla="*/ 3281068 h 4527583"/>
              <a:gd name="connsiteX6" fmla="*/ 3923155 w 4331471"/>
              <a:gd name="connsiteY6" fmla="*/ 3752645 h 4527583"/>
              <a:gd name="connsiteX7" fmla="*/ 3622668 w 4331471"/>
              <a:gd name="connsiteY7" fmla="*/ 3902167 h 4527583"/>
              <a:gd name="connsiteX8" fmla="*/ 2823287 w 4331471"/>
              <a:gd name="connsiteY8" fmla="*/ 4527583 h 4527583"/>
              <a:gd name="connsiteX9" fmla="*/ 842087 w 4331471"/>
              <a:gd name="connsiteY9" fmla="*/ 4527583 h 4527583"/>
              <a:gd name="connsiteX10" fmla="*/ 1145449 w 4331471"/>
              <a:gd name="connsiteY10" fmla="*/ 3315574 h 4527583"/>
              <a:gd name="connsiteX11" fmla="*/ 399265 w 4331471"/>
              <a:gd name="connsiteY11" fmla="*/ 1900839 h 4527583"/>
              <a:gd name="connsiteX0" fmla="*/ 399265 w 4331471"/>
              <a:gd name="connsiteY0" fmla="*/ 1900839 h 4527583"/>
              <a:gd name="connsiteX1" fmla="*/ 1755048 w 4331471"/>
              <a:gd name="connsiteY1" fmla="*/ 26034 h 4527583"/>
              <a:gd name="connsiteX2" fmla="*/ 3957659 w 4331471"/>
              <a:gd name="connsiteY2" fmla="*/ 1762819 h 4527583"/>
              <a:gd name="connsiteX3" fmla="*/ 4331471 w 4331471"/>
              <a:gd name="connsiteY3" fmla="*/ 2636962 h 4527583"/>
              <a:gd name="connsiteX4" fmla="*/ 4107184 w 4331471"/>
              <a:gd name="connsiteY4" fmla="*/ 3016524 h 4527583"/>
              <a:gd name="connsiteX5" fmla="*/ 4038173 w 4331471"/>
              <a:gd name="connsiteY5" fmla="*/ 3281068 h 4527583"/>
              <a:gd name="connsiteX6" fmla="*/ 3923155 w 4331471"/>
              <a:gd name="connsiteY6" fmla="*/ 3752645 h 4527583"/>
              <a:gd name="connsiteX7" fmla="*/ 3622668 w 4331471"/>
              <a:gd name="connsiteY7" fmla="*/ 3902167 h 4527583"/>
              <a:gd name="connsiteX8" fmla="*/ 2823287 w 4331471"/>
              <a:gd name="connsiteY8" fmla="*/ 4527583 h 4527583"/>
              <a:gd name="connsiteX9" fmla="*/ 842087 w 4331471"/>
              <a:gd name="connsiteY9" fmla="*/ 4527583 h 4527583"/>
              <a:gd name="connsiteX10" fmla="*/ 1145449 w 4331471"/>
              <a:gd name="connsiteY10" fmla="*/ 3315574 h 4527583"/>
              <a:gd name="connsiteX11" fmla="*/ 399265 w 4331471"/>
              <a:gd name="connsiteY11" fmla="*/ 1900839 h 4527583"/>
              <a:gd name="connsiteX0" fmla="*/ 399265 w 4331471"/>
              <a:gd name="connsiteY0" fmla="*/ 1900839 h 4527583"/>
              <a:gd name="connsiteX1" fmla="*/ 1755048 w 4331471"/>
              <a:gd name="connsiteY1" fmla="*/ 26034 h 4527583"/>
              <a:gd name="connsiteX2" fmla="*/ 3957659 w 4331471"/>
              <a:gd name="connsiteY2" fmla="*/ 1762819 h 4527583"/>
              <a:gd name="connsiteX3" fmla="*/ 4331471 w 4331471"/>
              <a:gd name="connsiteY3" fmla="*/ 2636962 h 4527583"/>
              <a:gd name="connsiteX4" fmla="*/ 4107184 w 4331471"/>
              <a:gd name="connsiteY4" fmla="*/ 3016524 h 4527583"/>
              <a:gd name="connsiteX5" fmla="*/ 4038173 w 4331471"/>
              <a:gd name="connsiteY5" fmla="*/ 3281068 h 4527583"/>
              <a:gd name="connsiteX6" fmla="*/ 3923155 w 4331471"/>
              <a:gd name="connsiteY6" fmla="*/ 3752645 h 4527583"/>
              <a:gd name="connsiteX7" fmla="*/ 3622668 w 4331471"/>
              <a:gd name="connsiteY7" fmla="*/ 3902167 h 4527583"/>
              <a:gd name="connsiteX8" fmla="*/ 2823287 w 4331471"/>
              <a:gd name="connsiteY8" fmla="*/ 4527583 h 4527583"/>
              <a:gd name="connsiteX9" fmla="*/ 842087 w 4331471"/>
              <a:gd name="connsiteY9" fmla="*/ 4527583 h 4527583"/>
              <a:gd name="connsiteX10" fmla="*/ 1145449 w 4331471"/>
              <a:gd name="connsiteY10" fmla="*/ 3315574 h 4527583"/>
              <a:gd name="connsiteX11" fmla="*/ 399265 w 4331471"/>
              <a:gd name="connsiteY11" fmla="*/ 1900839 h 4527583"/>
              <a:gd name="connsiteX0" fmla="*/ 399265 w 4331471"/>
              <a:gd name="connsiteY0" fmla="*/ 1900839 h 4527583"/>
              <a:gd name="connsiteX1" fmla="*/ 1755048 w 4331471"/>
              <a:gd name="connsiteY1" fmla="*/ 26034 h 4527583"/>
              <a:gd name="connsiteX2" fmla="*/ 3957659 w 4331471"/>
              <a:gd name="connsiteY2" fmla="*/ 1762819 h 4527583"/>
              <a:gd name="connsiteX3" fmla="*/ 4331471 w 4331471"/>
              <a:gd name="connsiteY3" fmla="*/ 2636962 h 4527583"/>
              <a:gd name="connsiteX4" fmla="*/ 4107184 w 4331471"/>
              <a:gd name="connsiteY4" fmla="*/ 3016524 h 4527583"/>
              <a:gd name="connsiteX5" fmla="*/ 4038173 w 4331471"/>
              <a:gd name="connsiteY5" fmla="*/ 3281068 h 4527583"/>
              <a:gd name="connsiteX6" fmla="*/ 3923155 w 4331471"/>
              <a:gd name="connsiteY6" fmla="*/ 3752645 h 4527583"/>
              <a:gd name="connsiteX7" fmla="*/ 3622668 w 4331471"/>
              <a:gd name="connsiteY7" fmla="*/ 3902167 h 4527583"/>
              <a:gd name="connsiteX8" fmla="*/ 2823287 w 4331471"/>
              <a:gd name="connsiteY8" fmla="*/ 4527583 h 4527583"/>
              <a:gd name="connsiteX9" fmla="*/ 842087 w 4331471"/>
              <a:gd name="connsiteY9" fmla="*/ 4527583 h 4527583"/>
              <a:gd name="connsiteX10" fmla="*/ 1145449 w 4331471"/>
              <a:gd name="connsiteY10" fmla="*/ 3315574 h 4527583"/>
              <a:gd name="connsiteX11" fmla="*/ 399265 w 4331471"/>
              <a:gd name="connsiteY11" fmla="*/ 1900839 h 4527583"/>
              <a:gd name="connsiteX0" fmla="*/ 399265 w 4331471"/>
              <a:gd name="connsiteY0" fmla="*/ 1900839 h 4527583"/>
              <a:gd name="connsiteX1" fmla="*/ 1755048 w 4331471"/>
              <a:gd name="connsiteY1" fmla="*/ 26034 h 4527583"/>
              <a:gd name="connsiteX2" fmla="*/ 3957659 w 4331471"/>
              <a:gd name="connsiteY2" fmla="*/ 1762819 h 4527583"/>
              <a:gd name="connsiteX3" fmla="*/ 4331471 w 4331471"/>
              <a:gd name="connsiteY3" fmla="*/ 2636962 h 4527583"/>
              <a:gd name="connsiteX4" fmla="*/ 4107184 w 4331471"/>
              <a:gd name="connsiteY4" fmla="*/ 3016524 h 4527583"/>
              <a:gd name="connsiteX5" fmla="*/ 4038173 w 4331471"/>
              <a:gd name="connsiteY5" fmla="*/ 3281068 h 4527583"/>
              <a:gd name="connsiteX6" fmla="*/ 3923155 w 4331471"/>
              <a:gd name="connsiteY6" fmla="*/ 3752645 h 4527583"/>
              <a:gd name="connsiteX7" fmla="*/ 3622668 w 4331471"/>
              <a:gd name="connsiteY7" fmla="*/ 3902167 h 4527583"/>
              <a:gd name="connsiteX8" fmla="*/ 2823287 w 4331471"/>
              <a:gd name="connsiteY8" fmla="*/ 4527583 h 4527583"/>
              <a:gd name="connsiteX9" fmla="*/ 842087 w 4331471"/>
              <a:gd name="connsiteY9" fmla="*/ 4527583 h 4527583"/>
              <a:gd name="connsiteX10" fmla="*/ 1145449 w 4331471"/>
              <a:gd name="connsiteY10" fmla="*/ 3315574 h 4527583"/>
              <a:gd name="connsiteX11" fmla="*/ 399265 w 4331471"/>
              <a:gd name="connsiteY11" fmla="*/ 1900839 h 4527583"/>
              <a:gd name="connsiteX0" fmla="*/ 396558 w 4340266"/>
              <a:gd name="connsiteY0" fmla="*/ 1837579 h 4527583"/>
              <a:gd name="connsiteX1" fmla="*/ 1763843 w 4340266"/>
              <a:gd name="connsiteY1" fmla="*/ 26034 h 4527583"/>
              <a:gd name="connsiteX2" fmla="*/ 3966454 w 4340266"/>
              <a:gd name="connsiteY2" fmla="*/ 1762819 h 4527583"/>
              <a:gd name="connsiteX3" fmla="*/ 4340266 w 4340266"/>
              <a:gd name="connsiteY3" fmla="*/ 2636962 h 4527583"/>
              <a:gd name="connsiteX4" fmla="*/ 4115979 w 4340266"/>
              <a:gd name="connsiteY4" fmla="*/ 3016524 h 4527583"/>
              <a:gd name="connsiteX5" fmla="*/ 4046968 w 4340266"/>
              <a:gd name="connsiteY5" fmla="*/ 3281068 h 4527583"/>
              <a:gd name="connsiteX6" fmla="*/ 3931950 w 4340266"/>
              <a:gd name="connsiteY6" fmla="*/ 3752645 h 4527583"/>
              <a:gd name="connsiteX7" fmla="*/ 3631463 w 4340266"/>
              <a:gd name="connsiteY7" fmla="*/ 3902167 h 4527583"/>
              <a:gd name="connsiteX8" fmla="*/ 2832082 w 4340266"/>
              <a:gd name="connsiteY8" fmla="*/ 4527583 h 4527583"/>
              <a:gd name="connsiteX9" fmla="*/ 850882 w 4340266"/>
              <a:gd name="connsiteY9" fmla="*/ 4527583 h 4527583"/>
              <a:gd name="connsiteX10" fmla="*/ 1154244 w 4340266"/>
              <a:gd name="connsiteY10" fmla="*/ 3315574 h 4527583"/>
              <a:gd name="connsiteX11" fmla="*/ 396558 w 4340266"/>
              <a:gd name="connsiteY11" fmla="*/ 1837579 h 4527583"/>
              <a:gd name="connsiteX0" fmla="*/ 393880 w 4349090"/>
              <a:gd name="connsiteY0" fmla="*/ 1636296 h 4527583"/>
              <a:gd name="connsiteX1" fmla="*/ 1772667 w 4349090"/>
              <a:gd name="connsiteY1" fmla="*/ 26034 h 4527583"/>
              <a:gd name="connsiteX2" fmla="*/ 3975278 w 4349090"/>
              <a:gd name="connsiteY2" fmla="*/ 1762819 h 4527583"/>
              <a:gd name="connsiteX3" fmla="*/ 4349090 w 4349090"/>
              <a:gd name="connsiteY3" fmla="*/ 2636962 h 4527583"/>
              <a:gd name="connsiteX4" fmla="*/ 4124803 w 4349090"/>
              <a:gd name="connsiteY4" fmla="*/ 3016524 h 4527583"/>
              <a:gd name="connsiteX5" fmla="*/ 4055792 w 4349090"/>
              <a:gd name="connsiteY5" fmla="*/ 3281068 h 4527583"/>
              <a:gd name="connsiteX6" fmla="*/ 3940774 w 4349090"/>
              <a:gd name="connsiteY6" fmla="*/ 3752645 h 4527583"/>
              <a:gd name="connsiteX7" fmla="*/ 3640287 w 4349090"/>
              <a:gd name="connsiteY7" fmla="*/ 3902167 h 4527583"/>
              <a:gd name="connsiteX8" fmla="*/ 2840906 w 4349090"/>
              <a:gd name="connsiteY8" fmla="*/ 4527583 h 4527583"/>
              <a:gd name="connsiteX9" fmla="*/ 859706 w 4349090"/>
              <a:gd name="connsiteY9" fmla="*/ 4527583 h 4527583"/>
              <a:gd name="connsiteX10" fmla="*/ 1163068 w 4349090"/>
              <a:gd name="connsiteY10" fmla="*/ 3315574 h 4527583"/>
              <a:gd name="connsiteX11" fmla="*/ 393880 w 4349090"/>
              <a:gd name="connsiteY11" fmla="*/ 1636296 h 4527583"/>
              <a:gd name="connsiteX0" fmla="*/ 393880 w 4349090"/>
              <a:gd name="connsiteY0" fmla="*/ 1636296 h 4527583"/>
              <a:gd name="connsiteX1" fmla="*/ 1772667 w 4349090"/>
              <a:gd name="connsiteY1" fmla="*/ 26034 h 4527583"/>
              <a:gd name="connsiteX2" fmla="*/ 3975278 w 4349090"/>
              <a:gd name="connsiteY2" fmla="*/ 1762819 h 4527583"/>
              <a:gd name="connsiteX3" fmla="*/ 4349090 w 4349090"/>
              <a:gd name="connsiteY3" fmla="*/ 2636962 h 4527583"/>
              <a:gd name="connsiteX4" fmla="*/ 4124803 w 4349090"/>
              <a:gd name="connsiteY4" fmla="*/ 3016524 h 4527583"/>
              <a:gd name="connsiteX5" fmla="*/ 4055792 w 4349090"/>
              <a:gd name="connsiteY5" fmla="*/ 3281068 h 4527583"/>
              <a:gd name="connsiteX6" fmla="*/ 3940774 w 4349090"/>
              <a:gd name="connsiteY6" fmla="*/ 3752645 h 4527583"/>
              <a:gd name="connsiteX7" fmla="*/ 3640287 w 4349090"/>
              <a:gd name="connsiteY7" fmla="*/ 3902167 h 4527583"/>
              <a:gd name="connsiteX8" fmla="*/ 2840906 w 4349090"/>
              <a:gd name="connsiteY8" fmla="*/ 4527583 h 4527583"/>
              <a:gd name="connsiteX9" fmla="*/ 859706 w 4349090"/>
              <a:gd name="connsiteY9" fmla="*/ 4527583 h 4527583"/>
              <a:gd name="connsiteX10" fmla="*/ 1157317 w 4349090"/>
              <a:gd name="connsiteY10" fmla="*/ 3281068 h 4527583"/>
              <a:gd name="connsiteX11" fmla="*/ 393880 w 4349090"/>
              <a:gd name="connsiteY11" fmla="*/ 1636296 h 4527583"/>
              <a:gd name="connsiteX0" fmla="*/ 393880 w 4349090"/>
              <a:gd name="connsiteY0" fmla="*/ 1636296 h 4527583"/>
              <a:gd name="connsiteX1" fmla="*/ 1772667 w 4349090"/>
              <a:gd name="connsiteY1" fmla="*/ 26034 h 4527583"/>
              <a:gd name="connsiteX2" fmla="*/ 3975278 w 4349090"/>
              <a:gd name="connsiteY2" fmla="*/ 1762819 h 4527583"/>
              <a:gd name="connsiteX3" fmla="*/ 4349090 w 4349090"/>
              <a:gd name="connsiteY3" fmla="*/ 2636962 h 4527583"/>
              <a:gd name="connsiteX4" fmla="*/ 4124803 w 4349090"/>
              <a:gd name="connsiteY4" fmla="*/ 3016524 h 4527583"/>
              <a:gd name="connsiteX5" fmla="*/ 4055792 w 4349090"/>
              <a:gd name="connsiteY5" fmla="*/ 3281068 h 4527583"/>
              <a:gd name="connsiteX6" fmla="*/ 3940774 w 4349090"/>
              <a:gd name="connsiteY6" fmla="*/ 3752645 h 4527583"/>
              <a:gd name="connsiteX7" fmla="*/ 3640287 w 4349090"/>
              <a:gd name="connsiteY7" fmla="*/ 3902167 h 4527583"/>
              <a:gd name="connsiteX8" fmla="*/ 2840906 w 4349090"/>
              <a:gd name="connsiteY8" fmla="*/ 4527583 h 4527583"/>
              <a:gd name="connsiteX9" fmla="*/ 859706 w 4349090"/>
              <a:gd name="connsiteY9" fmla="*/ 4527583 h 4527583"/>
              <a:gd name="connsiteX10" fmla="*/ 1157317 w 4349090"/>
              <a:gd name="connsiteY10" fmla="*/ 3281068 h 4527583"/>
              <a:gd name="connsiteX11" fmla="*/ 393880 w 4349090"/>
              <a:gd name="connsiteY11" fmla="*/ 1636296 h 4527583"/>
              <a:gd name="connsiteX0" fmla="*/ 393880 w 4349090"/>
              <a:gd name="connsiteY0" fmla="*/ 1636296 h 4527583"/>
              <a:gd name="connsiteX1" fmla="*/ 1772667 w 4349090"/>
              <a:gd name="connsiteY1" fmla="*/ 26034 h 4527583"/>
              <a:gd name="connsiteX2" fmla="*/ 3975278 w 4349090"/>
              <a:gd name="connsiteY2" fmla="*/ 1762819 h 4527583"/>
              <a:gd name="connsiteX3" fmla="*/ 4349090 w 4349090"/>
              <a:gd name="connsiteY3" fmla="*/ 2636962 h 4527583"/>
              <a:gd name="connsiteX4" fmla="*/ 4124803 w 4349090"/>
              <a:gd name="connsiteY4" fmla="*/ 3016524 h 4527583"/>
              <a:gd name="connsiteX5" fmla="*/ 4055792 w 4349090"/>
              <a:gd name="connsiteY5" fmla="*/ 3281068 h 4527583"/>
              <a:gd name="connsiteX6" fmla="*/ 3940774 w 4349090"/>
              <a:gd name="connsiteY6" fmla="*/ 3752645 h 4527583"/>
              <a:gd name="connsiteX7" fmla="*/ 3640287 w 4349090"/>
              <a:gd name="connsiteY7" fmla="*/ 3902167 h 4527583"/>
              <a:gd name="connsiteX8" fmla="*/ 2840906 w 4349090"/>
              <a:gd name="connsiteY8" fmla="*/ 4527583 h 4527583"/>
              <a:gd name="connsiteX9" fmla="*/ 859706 w 4349090"/>
              <a:gd name="connsiteY9" fmla="*/ 4527583 h 4527583"/>
              <a:gd name="connsiteX10" fmla="*/ 1157317 w 4349090"/>
              <a:gd name="connsiteY10" fmla="*/ 3281068 h 4527583"/>
              <a:gd name="connsiteX11" fmla="*/ 393880 w 4349090"/>
              <a:gd name="connsiteY11" fmla="*/ 1636296 h 4527583"/>
              <a:gd name="connsiteX0" fmla="*/ 392552 w 4353513"/>
              <a:gd name="connsiteY0" fmla="*/ 1435013 h 4527583"/>
              <a:gd name="connsiteX1" fmla="*/ 1777090 w 4353513"/>
              <a:gd name="connsiteY1" fmla="*/ 26034 h 4527583"/>
              <a:gd name="connsiteX2" fmla="*/ 3979701 w 4353513"/>
              <a:gd name="connsiteY2" fmla="*/ 1762819 h 4527583"/>
              <a:gd name="connsiteX3" fmla="*/ 4353513 w 4353513"/>
              <a:gd name="connsiteY3" fmla="*/ 2636962 h 4527583"/>
              <a:gd name="connsiteX4" fmla="*/ 4129226 w 4353513"/>
              <a:gd name="connsiteY4" fmla="*/ 3016524 h 4527583"/>
              <a:gd name="connsiteX5" fmla="*/ 4060215 w 4353513"/>
              <a:gd name="connsiteY5" fmla="*/ 3281068 h 4527583"/>
              <a:gd name="connsiteX6" fmla="*/ 3945197 w 4353513"/>
              <a:gd name="connsiteY6" fmla="*/ 3752645 h 4527583"/>
              <a:gd name="connsiteX7" fmla="*/ 3644710 w 4353513"/>
              <a:gd name="connsiteY7" fmla="*/ 3902167 h 4527583"/>
              <a:gd name="connsiteX8" fmla="*/ 2845329 w 4353513"/>
              <a:gd name="connsiteY8" fmla="*/ 4527583 h 4527583"/>
              <a:gd name="connsiteX9" fmla="*/ 864129 w 4353513"/>
              <a:gd name="connsiteY9" fmla="*/ 4527583 h 4527583"/>
              <a:gd name="connsiteX10" fmla="*/ 1161740 w 4353513"/>
              <a:gd name="connsiteY10" fmla="*/ 3281068 h 4527583"/>
              <a:gd name="connsiteX11" fmla="*/ 392552 w 4353513"/>
              <a:gd name="connsiteY11" fmla="*/ 1435013 h 4527583"/>
              <a:gd name="connsiteX0" fmla="*/ 392552 w 4353513"/>
              <a:gd name="connsiteY0" fmla="*/ 1435013 h 4527583"/>
              <a:gd name="connsiteX1" fmla="*/ 1777090 w 4353513"/>
              <a:gd name="connsiteY1" fmla="*/ 26034 h 4527583"/>
              <a:gd name="connsiteX2" fmla="*/ 3979701 w 4353513"/>
              <a:gd name="connsiteY2" fmla="*/ 1762819 h 4527583"/>
              <a:gd name="connsiteX3" fmla="*/ 4353513 w 4353513"/>
              <a:gd name="connsiteY3" fmla="*/ 2636962 h 4527583"/>
              <a:gd name="connsiteX4" fmla="*/ 4129226 w 4353513"/>
              <a:gd name="connsiteY4" fmla="*/ 3016524 h 4527583"/>
              <a:gd name="connsiteX5" fmla="*/ 4060215 w 4353513"/>
              <a:gd name="connsiteY5" fmla="*/ 3281068 h 4527583"/>
              <a:gd name="connsiteX6" fmla="*/ 3945197 w 4353513"/>
              <a:gd name="connsiteY6" fmla="*/ 3752645 h 4527583"/>
              <a:gd name="connsiteX7" fmla="*/ 3644710 w 4353513"/>
              <a:gd name="connsiteY7" fmla="*/ 3902167 h 4527583"/>
              <a:gd name="connsiteX8" fmla="*/ 2845329 w 4353513"/>
              <a:gd name="connsiteY8" fmla="*/ 4527583 h 4527583"/>
              <a:gd name="connsiteX9" fmla="*/ 864129 w 4353513"/>
              <a:gd name="connsiteY9" fmla="*/ 4527583 h 4527583"/>
              <a:gd name="connsiteX10" fmla="*/ 1161740 w 4353513"/>
              <a:gd name="connsiteY10" fmla="*/ 3281068 h 4527583"/>
              <a:gd name="connsiteX11" fmla="*/ 392552 w 4353513"/>
              <a:gd name="connsiteY11" fmla="*/ 1435013 h 4527583"/>
              <a:gd name="connsiteX0" fmla="*/ 7945 w 3968906"/>
              <a:gd name="connsiteY0" fmla="*/ 1435013 h 4527583"/>
              <a:gd name="connsiteX1" fmla="*/ 1392483 w 3968906"/>
              <a:gd name="connsiteY1" fmla="*/ 26034 h 4527583"/>
              <a:gd name="connsiteX2" fmla="*/ 3595094 w 3968906"/>
              <a:gd name="connsiteY2" fmla="*/ 1762819 h 4527583"/>
              <a:gd name="connsiteX3" fmla="*/ 3968906 w 3968906"/>
              <a:gd name="connsiteY3" fmla="*/ 2636962 h 4527583"/>
              <a:gd name="connsiteX4" fmla="*/ 3744619 w 3968906"/>
              <a:gd name="connsiteY4" fmla="*/ 3016524 h 4527583"/>
              <a:gd name="connsiteX5" fmla="*/ 3675608 w 3968906"/>
              <a:gd name="connsiteY5" fmla="*/ 3281068 h 4527583"/>
              <a:gd name="connsiteX6" fmla="*/ 3560590 w 3968906"/>
              <a:gd name="connsiteY6" fmla="*/ 3752645 h 4527583"/>
              <a:gd name="connsiteX7" fmla="*/ 3260103 w 3968906"/>
              <a:gd name="connsiteY7" fmla="*/ 3902167 h 4527583"/>
              <a:gd name="connsiteX8" fmla="*/ 2460722 w 3968906"/>
              <a:gd name="connsiteY8" fmla="*/ 4527583 h 4527583"/>
              <a:gd name="connsiteX9" fmla="*/ 479522 w 3968906"/>
              <a:gd name="connsiteY9" fmla="*/ 4527583 h 4527583"/>
              <a:gd name="connsiteX10" fmla="*/ 777133 w 3968906"/>
              <a:gd name="connsiteY10" fmla="*/ 3281068 h 4527583"/>
              <a:gd name="connsiteX11" fmla="*/ 7945 w 3968906"/>
              <a:gd name="connsiteY11" fmla="*/ 1435013 h 4527583"/>
              <a:gd name="connsiteX0" fmla="*/ 7945 w 3968906"/>
              <a:gd name="connsiteY0" fmla="*/ 1435013 h 4527583"/>
              <a:gd name="connsiteX1" fmla="*/ 1392483 w 3968906"/>
              <a:gd name="connsiteY1" fmla="*/ 26034 h 4527583"/>
              <a:gd name="connsiteX2" fmla="*/ 3595094 w 3968906"/>
              <a:gd name="connsiteY2" fmla="*/ 1762819 h 4527583"/>
              <a:gd name="connsiteX3" fmla="*/ 3968906 w 3968906"/>
              <a:gd name="connsiteY3" fmla="*/ 2636962 h 4527583"/>
              <a:gd name="connsiteX4" fmla="*/ 3744619 w 3968906"/>
              <a:gd name="connsiteY4" fmla="*/ 3016524 h 4527583"/>
              <a:gd name="connsiteX5" fmla="*/ 3675608 w 3968906"/>
              <a:gd name="connsiteY5" fmla="*/ 3281068 h 4527583"/>
              <a:gd name="connsiteX6" fmla="*/ 3560590 w 3968906"/>
              <a:gd name="connsiteY6" fmla="*/ 3752645 h 4527583"/>
              <a:gd name="connsiteX7" fmla="*/ 3260103 w 3968906"/>
              <a:gd name="connsiteY7" fmla="*/ 3902167 h 4527583"/>
              <a:gd name="connsiteX8" fmla="*/ 2460722 w 3968906"/>
              <a:gd name="connsiteY8" fmla="*/ 4527583 h 4527583"/>
              <a:gd name="connsiteX9" fmla="*/ 479522 w 3968906"/>
              <a:gd name="connsiteY9" fmla="*/ 4527583 h 4527583"/>
              <a:gd name="connsiteX10" fmla="*/ 777133 w 3968906"/>
              <a:gd name="connsiteY10" fmla="*/ 3281068 h 4527583"/>
              <a:gd name="connsiteX11" fmla="*/ 7945 w 3968906"/>
              <a:gd name="connsiteY11" fmla="*/ 1435013 h 4527583"/>
              <a:gd name="connsiteX0" fmla="*/ 7945 w 3968906"/>
              <a:gd name="connsiteY0" fmla="*/ 1435013 h 4527583"/>
              <a:gd name="connsiteX1" fmla="*/ 1392483 w 3968906"/>
              <a:gd name="connsiteY1" fmla="*/ 26034 h 4527583"/>
              <a:gd name="connsiteX2" fmla="*/ 3595094 w 3968906"/>
              <a:gd name="connsiteY2" fmla="*/ 1762819 h 4527583"/>
              <a:gd name="connsiteX3" fmla="*/ 3968906 w 3968906"/>
              <a:gd name="connsiteY3" fmla="*/ 2636962 h 4527583"/>
              <a:gd name="connsiteX4" fmla="*/ 3744619 w 3968906"/>
              <a:gd name="connsiteY4" fmla="*/ 3016524 h 4527583"/>
              <a:gd name="connsiteX5" fmla="*/ 3675608 w 3968906"/>
              <a:gd name="connsiteY5" fmla="*/ 3281068 h 4527583"/>
              <a:gd name="connsiteX6" fmla="*/ 3560590 w 3968906"/>
              <a:gd name="connsiteY6" fmla="*/ 3752645 h 4527583"/>
              <a:gd name="connsiteX7" fmla="*/ 3260103 w 3968906"/>
              <a:gd name="connsiteY7" fmla="*/ 3902167 h 4527583"/>
              <a:gd name="connsiteX8" fmla="*/ 2460722 w 3968906"/>
              <a:gd name="connsiteY8" fmla="*/ 4527583 h 4527583"/>
              <a:gd name="connsiteX9" fmla="*/ 479522 w 3968906"/>
              <a:gd name="connsiteY9" fmla="*/ 4527583 h 4527583"/>
              <a:gd name="connsiteX10" fmla="*/ 777133 w 3968906"/>
              <a:gd name="connsiteY10" fmla="*/ 3281068 h 4527583"/>
              <a:gd name="connsiteX11" fmla="*/ 7945 w 3968906"/>
              <a:gd name="connsiteY11" fmla="*/ 1435013 h 4527583"/>
              <a:gd name="connsiteX0" fmla="*/ 7945 w 3968906"/>
              <a:gd name="connsiteY0" fmla="*/ 1435013 h 4527583"/>
              <a:gd name="connsiteX1" fmla="*/ 1392483 w 3968906"/>
              <a:gd name="connsiteY1" fmla="*/ 26034 h 4527583"/>
              <a:gd name="connsiteX2" fmla="*/ 3595094 w 3968906"/>
              <a:gd name="connsiteY2" fmla="*/ 1762819 h 4527583"/>
              <a:gd name="connsiteX3" fmla="*/ 3968906 w 3968906"/>
              <a:gd name="connsiteY3" fmla="*/ 2636962 h 4527583"/>
              <a:gd name="connsiteX4" fmla="*/ 3744619 w 3968906"/>
              <a:gd name="connsiteY4" fmla="*/ 3016524 h 4527583"/>
              <a:gd name="connsiteX5" fmla="*/ 3675608 w 3968906"/>
              <a:gd name="connsiteY5" fmla="*/ 3281068 h 4527583"/>
              <a:gd name="connsiteX6" fmla="*/ 3560590 w 3968906"/>
              <a:gd name="connsiteY6" fmla="*/ 3752645 h 4527583"/>
              <a:gd name="connsiteX7" fmla="*/ 3260103 w 3968906"/>
              <a:gd name="connsiteY7" fmla="*/ 3902167 h 4527583"/>
              <a:gd name="connsiteX8" fmla="*/ 2460722 w 3968906"/>
              <a:gd name="connsiteY8" fmla="*/ 4527583 h 4527583"/>
              <a:gd name="connsiteX9" fmla="*/ 479522 w 3968906"/>
              <a:gd name="connsiteY9" fmla="*/ 4527583 h 4527583"/>
              <a:gd name="connsiteX10" fmla="*/ 777133 w 3968906"/>
              <a:gd name="connsiteY10" fmla="*/ 3281068 h 4527583"/>
              <a:gd name="connsiteX11" fmla="*/ 7945 w 3968906"/>
              <a:gd name="connsiteY11" fmla="*/ 1435013 h 4527583"/>
              <a:gd name="connsiteX0" fmla="*/ 7945 w 3968906"/>
              <a:gd name="connsiteY0" fmla="*/ 1435013 h 4527583"/>
              <a:gd name="connsiteX1" fmla="*/ 1392483 w 3968906"/>
              <a:gd name="connsiteY1" fmla="*/ 26034 h 4527583"/>
              <a:gd name="connsiteX2" fmla="*/ 3595094 w 3968906"/>
              <a:gd name="connsiteY2" fmla="*/ 1762819 h 4527583"/>
              <a:gd name="connsiteX3" fmla="*/ 3968906 w 3968906"/>
              <a:gd name="connsiteY3" fmla="*/ 2636962 h 4527583"/>
              <a:gd name="connsiteX4" fmla="*/ 3744619 w 3968906"/>
              <a:gd name="connsiteY4" fmla="*/ 3016524 h 4527583"/>
              <a:gd name="connsiteX5" fmla="*/ 3675608 w 3968906"/>
              <a:gd name="connsiteY5" fmla="*/ 3281068 h 4527583"/>
              <a:gd name="connsiteX6" fmla="*/ 3560590 w 3968906"/>
              <a:gd name="connsiteY6" fmla="*/ 3752645 h 4527583"/>
              <a:gd name="connsiteX7" fmla="*/ 3260103 w 3968906"/>
              <a:gd name="connsiteY7" fmla="*/ 3902167 h 4527583"/>
              <a:gd name="connsiteX8" fmla="*/ 2460722 w 3968906"/>
              <a:gd name="connsiteY8" fmla="*/ 4527583 h 4527583"/>
              <a:gd name="connsiteX9" fmla="*/ 479522 w 3968906"/>
              <a:gd name="connsiteY9" fmla="*/ 4527583 h 4527583"/>
              <a:gd name="connsiteX10" fmla="*/ 777133 w 3968906"/>
              <a:gd name="connsiteY10" fmla="*/ 3281068 h 4527583"/>
              <a:gd name="connsiteX11" fmla="*/ 7945 w 3968906"/>
              <a:gd name="connsiteY11" fmla="*/ 1435013 h 4527583"/>
              <a:gd name="connsiteX0" fmla="*/ 7945 w 3968906"/>
              <a:gd name="connsiteY0" fmla="*/ 1435013 h 4527583"/>
              <a:gd name="connsiteX1" fmla="*/ 1392483 w 3968906"/>
              <a:gd name="connsiteY1" fmla="*/ 26034 h 4527583"/>
              <a:gd name="connsiteX2" fmla="*/ 3595094 w 3968906"/>
              <a:gd name="connsiteY2" fmla="*/ 1762819 h 4527583"/>
              <a:gd name="connsiteX3" fmla="*/ 3968906 w 3968906"/>
              <a:gd name="connsiteY3" fmla="*/ 2636962 h 4527583"/>
              <a:gd name="connsiteX4" fmla="*/ 3744619 w 3968906"/>
              <a:gd name="connsiteY4" fmla="*/ 3016524 h 4527583"/>
              <a:gd name="connsiteX5" fmla="*/ 3675608 w 3968906"/>
              <a:gd name="connsiteY5" fmla="*/ 3281068 h 4527583"/>
              <a:gd name="connsiteX6" fmla="*/ 3560590 w 3968906"/>
              <a:gd name="connsiteY6" fmla="*/ 3752645 h 4527583"/>
              <a:gd name="connsiteX7" fmla="*/ 3260103 w 3968906"/>
              <a:gd name="connsiteY7" fmla="*/ 3902167 h 4527583"/>
              <a:gd name="connsiteX8" fmla="*/ 2460722 w 3968906"/>
              <a:gd name="connsiteY8" fmla="*/ 4527583 h 4527583"/>
              <a:gd name="connsiteX9" fmla="*/ 479522 w 3968906"/>
              <a:gd name="connsiteY9" fmla="*/ 4527583 h 4527583"/>
              <a:gd name="connsiteX10" fmla="*/ 777133 w 3968906"/>
              <a:gd name="connsiteY10" fmla="*/ 3281068 h 4527583"/>
              <a:gd name="connsiteX11" fmla="*/ 7945 w 3968906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41110 w 3965397"/>
              <a:gd name="connsiteY4" fmla="*/ 3016524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41110 w 3965397"/>
              <a:gd name="connsiteY4" fmla="*/ 3016524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41110 w 3965397"/>
              <a:gd name="connsiteY4" fmla="*/ 3016524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41110 w 3965397"/>
              <a:gd name="connsiteY4" fmla="*/ 3016524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41110 w 3965397"/>
              <a:gd name="connsiteY4" fmla="*/ 3016524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41110 w 3965397"/>
              <a:gd name="connsiteY4" fmla="*/ 3016524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41110 w 3965397"/>
              <a:gd name="connsiteY4" fmla="*/ 3016524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23775 w 3965397"/>
              <a:gd name="connsiteY4" fmla="*/ 2994856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23775 w 3965397"/>
              <a:gd name="connsiteY4" fmla="*/ 2994856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723775 w 3965397"/>
              <a:gd name="connsiteY4" fmla="*/ 2994856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72099 w 3965397"/>
              <a:gd name="connsiteY5" fmla="*/ 3281068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11428 w 3965397"/>
              <a:gd name="connsiteY5" fmla="*/ 3337405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11428 w 3965397"/>
              <a:gd name="connsiteY5" fmla="*/ 3337405 h 4527583"/>
              <a:gd name="connsiteX6" fmla="*/ 3557081 w 3965397"/>
              <a:gd name="connsiteY6" fmla="*/ 3752645 h 4527583"/>
              <a:gd name="connsiteX7" fmla="*/ 3256594 w 3965397"/>
              <a:gd name="connsiteY7" fmla="*/ 3902167 h 4527583"/>
              <a:gd name="connsiteX8" fmla="*/ 2457213 w 3965397"/>
              <a:gd name="connsiteY8" fmla="*/ 4527583 h 4527583"/>
              <a:gd name="connsiteX9" fmla="*/ 476013 w 3965397"/>
              <a:gd name="connsiteY9" fmla="*/ 4527583 h 4527583"/>
              <a:gd name="connsiteX10" fmla="*/ 773624 w 3965397"/>
              <a:gd name="connsiteY10" fmla="*/ 3281068 h 4527583"/>
              <a:gd name="connsiteX11" fmla="*/ 4436 w 3965397"/>
              <a:gd name="connsiteY11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44273 w 3965397"/>
              <a:gd name="connsiteY5" fmla="*/ 3148757 h 4527583"/>
              <a:gd name="connsiteX6" fmla="*/ 3611428 w 3965397"/>
              <a:gd name="connsiteY6" fmla="*/ 3337405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61758 h 4527583"/>
              <a:gd name="connsiteX6" fmla="*/ 3611428 w 3965397"/>
              <a:gd name="connsiteY6" fmla="*/ 3337405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39939 w 3965397"/>
              <a:gd name="connsiteY5" fmla="*/ 3170425 h 4527583"/>
              <a:gd name="connsiteX6" fmla="*/ 3611428 w 3965397"/>
              <a:gd name="connsiteY6" fmla="*/ 3337405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39939 w 3965397"/>
              <a:gd name="connsiteY5" fmla="*/ 3170425 h 4527583"/>
              <a:gd name="connsiteX6" fmla="*/ 3611428 w 3965397"/>
              <a:gd name="connsiteY6" fmla="*/ 3337405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39939 w 3965397"/>
              <a:gd name="connsiteY5" fmla="*/ 3170425 h 4527583"/>
              <a:gd name="connsiteX6" fmla="*/ 3611428 w 3965397"/>
              <a:gd name="connsiteY6" fmla="*/ 3337405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39939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39939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476013 w 3965397"/>
              <a:gd name="connsiteY10" fmla="*/ 4527583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4527583"/>
              <a:gd name="connsiteX1" fmla="*/ 1388974 w 3965397"/>
              <a:gd name="connsiteY1" fmla="*/ 26034 h 4527583"/>
              <a:gd name="connsiteX2" fmla="*/ 3591585 w 3965397"/>
              <a:gd name="connsiteY2" fmla="*/ 1762819 h 4527583"/>
              <a:gd name="connsiteX3" fmla="*/ 3965397 w 3965397"/>
              <a:gd name="connsiteY3" fmla="*/ 2636962 h 4527583"/>
              <a:gd name="connsiteX4" fmla="*/ 3697773 w 3965397"/>
              <a:gd name="connsiteY4" fmla="*/ 2951519 h 4527583"/>
              <a:gd name="connsiteX5" fmla="*/ 3626938 w 3965397"/>
              <a:gd name="connsiteY5" fmla="*/ 3170425 h 4527583"/>
              <a:gd name="connsiteX6" fmla="*/ 3559424 w 3965397"/>
              <a:gd name="connsiteY6" fmla="*/ 3393742 h 4527583"/>
              <a:gd name="connsiteX7" fmla="*/ 3557081 w 3965397"/>
              <a:gd name="connsiteY7" fmla="*/ 3752645 h 4527583"/>
              <a:gd name="connsiteX8" fmla="*/ 3256594 w 3965397"/>
              <a:gd name="connsiteY8" fmla="*/ 3902167 h 4527583"/>
              <a:gd name="connsiteX9" fmla="*/ 2457213 w 3965397"/>
              <a:gd name="connsiteY9" fmla="*/ 4527583 h 4527583"/>
              <a:gd name="connsiteX10" fmla="*/ 798775 w 3965397"/>
              <a:gd name="connsiteY10" fmla="*/ 3635566 h 4527583"/>
              <a:gd name="connsiteX11" fmla="*/ 773624 w 3965397"/>
              <a:gd name="connsiteY11" fmla="*/ 3281068 h 4527583"/>
              <a:gd name="connsiteX12" fmla="*/ 4436 w 3965397"/>
              <a:gd name="connsiteY12" fmla="*/ 1435013 h 4527583"/>
              <a:gd name="connsiteX0" fmla="*/ 4436 w 3965397"/>
              <a:gd name="connsiteY0" fmla="*/ 1435013 h 3902167"/>
              <a:gd name="connsiteX1" fmla="*/ 1388974 w 3965397"/>
              <a:gd name="connsiteY1" fmla="*/ 26034 h 3902167"/>
              <a:gd name="connsiteX2" fmla="*/ 3591585 w 3965397"/>
              <a:gd name="connsiteY2" fmla="*/ 1762819 h 3902167"/>
              <a:gd name="connsiteX3" fmla="*/ 3965397 w 3965397"/>
              <a:gd name="connsiteY3" fmla="*/ 2636962 h 3902167"/>
              <a:gd name="connsiteX4" fmla="*/ 3697773 w 3965397"/>
              <a:gd name="connsiteY4" fmla="*/ 2951519 h 3902167"/>
              <a:gd name="connsiteX5" fmla="*/ 3626938 w 3965397"/>
              <a:gd name="connsiteY5" fmla="*/ 3170425 h 3902167"/>
              <a:gd name="connsiteX6" fmla="*/ 3559424 w 3965397"/>
              <a:gd name="connsiteY6" fmla="*/ 3393742 h 3902167"/>
              <a:gd name="connsiteX7" fmla="*/ 3557081 w 3965397"/>
              <a:gd name="connsiteY7" fmla="*/ 3752645 h 3902167"/>
              <a:gd name="connsiteX8" fmla="*/ 3256594 w 3965397"/>
              <a:gd name="connsiteY8" fmla="*/ 3902167 h 3902167"/>
              <a:gd name="connsiteX9" fmla="*/ 2830937 w 3965397"/>
              <a:gd name="connsiteY9" fmla="*/ 3712025 h 3902167"/>
              <a:gd name="connsiteX10" fmla="*/ 798775 w 3965397"/>
              <a:gd name="connsiteY10" fmla="*/ 3635566 h 3902167"/>
              <a:gd name="connsiteX11" fmla="*/ 773624 w 3965397"/>
              <a:gd name="connsiteY11" fmla="*/ 3281068 h 3902167"/>
              <a:gd name="connsiteX12" fmla="*/ 4436 w 3965397"/>
              <a:gd name="connsiteY12" fmla="*/ 1435013 h 3902167"/>
              <a:gd name="connsiteX0" fmla="*/ 4436 w 3965397"/>
              <a:gd name="connsiteY0" fmla="*/ 1435013 h 3902167"/>
              <a:gd name="connsiteX1" fmla="*/ 1388974 w 3965397"/>
              <a:gd name="connsiteY1" fmla="*/ 26034 h 3902167"/>
              <a:gd name="connsiteX2" fmla="*/ 3591585 w 3965397"/>
              <a:gd name="connsiteY2" fmla="*/ 1762819 h 3902167"/>
              <a:gd name="connsiteX3" fmla="*/ 3965397 w 3965397"/>
              <a:gd name="connsiteY3" fmla="*/ 2636962 h 3902167"/>
              <a:gd name="connsiteX4" fmla="*/ 3697773 w 3965397"/>
              <a:gd name="connsiteY4" fmla="*/ 2951519 h 3902167"/>
              <a:gd name="connsiteX5" fmla="*/ 3626938 w 3965397"/>
              <a:gd name="connsiteY5" fmla="*/ 3170425 h 3902167"/>
              <a:gd name="connsiteX6" fmla="*/ 3559424 w 3965397"/>
              <a:gd name="connsiteY6" fmla="*/ 3393742 h 3902167"/>
              <a:gd name="connsiteX7" fmla="*/ 3557081 w 3965397"/>
              <a:gd name="connsiteY7" fmla="*/ 3752645 h 3902167"/>
              <a:gd name="connsiteX8" fmla="*/ 3256594 w 3965397"/>
              <a:gd name="connsiteY8" fmla="*/ 3902167 h 3902167"/>
              <a:gd name="connsiteX9" fmla="*/ 798775 w 3965397"/>
              <a:gd name="connsiteY9" fmla="*/ 3635566 h 3902167"/>
              <a:gd name="connsiteX10" fmla="*/ 773624 w 3965397"/>
              <a:gd name="connsiteY10" fmla="*/ 3281068 h 3902167"/>
              <a:gd name="connsiteX11" fmla="*/ 4436 w 3965397"/>
              <a:gd name="connsiteY11" fmla="*/ 1435013 h 3902167"/>
              <a:gd name="connsiteX0" fmla="*/ 4436 w 3965397"/>
              <a:gd name="connsiteY0" fmla="*/ 1435013 h 3763542"/>
              <a:gd name="connsiteX1" fmla="*/ 1388974 w 3965397"/>
              <a:gd name="connsiteY1" fmla="*/ 26034 h 3763542"/>
              <a:gd name="connsiteX2" fmla="*/ 3591585 w 3965397"/>
              <a:gd name="connsiteY2" fmla="*/ 1762819 h 3763542"/>
              <a:gd name="connsiteX3" fmla="*/ 3965397 w 3965397"/>
              <a:gd name="connsiteY3" fmla="*/ 2636962 h 3763542"/>
              <a:gd name="connsiteX4" fmla="*/ 3697773 w 3965397"/>
              <a:gd name="connsiteY4" fmla="*/ 2951519 h 3763542"/>
              <a:gd name="connsiteX5" fmla="*/ 3626938 w 3965397"/>
              <a:gd name="connsiteY5" fmla="*/ 3170425 h 3763542"/>
              <a:gd name="connsiteX6" fmla="*/ 3559424 w 3965397"/>
              <a:gd name="connsiteY6" fmla="*/ 3393742 h 3763542"/>
              <a:gd name="connsiteX7" fmla="*/ 3557081 w 3965397"/>
              <a:gd name="connsiteY7" fmla="*/ 3752645 h 3763542"/>
              <a:gd name="connsiteX8" fmla="*/ 798775 w 3965397"/>
              <a:gd name="connsiteY8" fmla="*/ 3635566 h 3763542"/>
              <a:gd name="connsiteX9" fmla="*/ 773624 w 3965397"/>
              <a:gd name="connsiteY9" fmla="*/ 3281068 h 3763542"/>
              <a:gd name="connsiteX10" fmla="*/ 4436 w 3965397"/>
              <a:gd name="connsiteY10" fmla="*/ 1435013 h 3763542"/>
              <a:gd name="connsiteX0" fmla="*/ 4436 w 3965397"/>
              <a:gd name="connsiteY0" fmla="*/ 1435013 h 3680544"/>
              <a:gd name="connsiteX1" fmla="*/ 1388974 w 3965397"/>
              <a:gd name="connsiteY1" fmla="*/ 26034 h 3680544"/>
              <a:gd name="connsiteX2" fmla="*/ 3591585 w 3965397"/>
              <a:gd name="connsiteY2" fmla="*/ 1762819 h 3680544"/>
              <a:gd name="connsiteX3" fmla="*/ 3965397 w 3965397"/>
              <a:gd name="connsiteY3" fmla="*/ 2636962 h 3680544"/>
              <a:gd name="connsiteX4" fmla="*/ 3697773 w 3965397"/>
              <a:gd name="connsiteY4" fmla="*/ 2951519 h 3680544"/>
              <a:gd name="connsiteX5" fmla="*/ 3626938 w 3965397"/>
              <a:gd name="connsiteY5" fmla="*/ 3170425 h 3680544"/>
              <a:gd name="connsiteX6" fmla="*/ 3559424 w 3965397"/>
              <a:gd name="connsiteY6" fmla="*/ 3393742 h 3680544"/>
              <a:gd name="connsiteX7" fmla="*/ 3565575 w 3965397"/>
              <a:gd name="connsiteY7" fmla="*/ 3633710 h 3680544"/>
              <a:gd name="connsiteX8" fmla="*/ 798775 w 3965397"/>
              <a:gd name="connsiteY8" fmla="*/ 3635566 h 3680544"/>
              <a:gd name="connsiteX9" fmla="*/ 773624 w 3965397"/>
              <a:gd name="connsiteY9" fmla="*/ 3281068 h 3680544"/>
              <a:gd name="connsiteX10" fmla="*/ 4436 w 3965397"/>
              <a:gd name="connsiteY10" fmla="*/ 1435013 h 3680544"/>
              <a:gd name="connsiteX0" fmla="*/ 4436 w 3965397"/>
              <a:gd name="connsiteY0" fmla="*/ 1435013 h 3666546"/>
              <a:gd name="connsiteX1" fmla="*/ 1388974 w 3965397"/>
              <a:gd name="connsiteY1" fmla="*/ 26034 h 3666546"/>
              <a:gd name="connsiteX2" fmla="*/ 3591585 w 3965397"/>
              <a:gd name="connsiteY2" fmla="*/ 1762819 h 3666546"/>
              <a:gd name="connsiteX3" fmla="*/ 3965397 w 3965397"/>
              <a:gd name="connsiteY3" fmla="*/ 2636962 h 3666546"/>
              <a:gd name="connsiteX4" fmla="*/ 3697773 w 3965397"/>
              <a:gd name="connsiteY4" fmla="*/ 2951519 h 3666546"/>
              <a:gd name="connsiteX5" fmla="*/ 3626938 w 3965397"/>
              <a:gd name="connsiteY5" fmla="*/ 3170425 h 3666546"/>
              <a:gd name="connsiteX6" fmla="*/ 3559424 w 3965397"/>
              <a:gd name="connsiteY6" fmla="*/ 3393742 h 3666546"/>
              <a:gd name="connsiteX7" fmla="*/ 3565575 w 3965397"/>
              <a:gd name="connsiteY7" fmla="*/ 3633710 h 3666546"/>
              <a:gd name="connsiteX8" fmla="*/ 747813 w 3965397"/>
              <a:gd name="connsiteY8" fmla="*/ 3610080 h 3666546"/>
              <a:gd name="connsiteX9" fmla="*/ 773624 w 3965397"/>
              <a:gd name="connsiteY9" fmla="*/ 3281068 h 3666546"/>
              <a:gd name="connsiteX10" fmla="*/ 4436 w 3965397"/>
              <a:gd name="connsiteY10" fmla="*/ 1435013 h 3666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965397" h="3666546">
                <a:moveTo>
                  <a:pt x="4436" y="1435013"/>
                </a:moveTo>
                <a:cubicBezTo>
                  <a:pt x="28159" y="642581"/>
                  <a:pt x="659803" y="123800"/>
                  <a:pt x="1388974" y="26034"/>
                </a:cubicBezTo>
                <a:cubicBezTo>
                  <a:pt x="2837013" y="-192501"/>
                  <a:pt x="3620339" y="1015197"/>
                  <a:pt x="3591585" y="1762819"/>
                </a:cubicBezTo>
                <a:cubicBezTo>
                  <a:pt x="3361927" y="2091307"/>
                  <a:pt x="3875369" y="2311922"/>
                  <a:pt x="3965397" y="2636962"/>
                </a:cubicBezTo>
                <a:cubicBezTo>
                  <a:pt x="3945199" y="2791814"/>
                  <a:pt x="3466481" y="2751981"/>
                  <a:pt x="3697773" y="2951519"/>
                </a:cubicBezTo>
                <a:cubicBezTo>
                  <a:pt x="3761262" y="3041153"/>
                  <a:pt x="3688999" y="3145114"/>
                  <a:pt x="3626938" y="3170425"/>
                </a:cubicBezTo>
                <a:cubicBezTo>
                  <a:pt x="3668884" y="3256407"/>
                  <a:pt x="3638960" y="3336430"/>
                  <a:pt x="3559424" y="3393742"/>
                </a:cubicBezTo>
                <a:cubicBezTo>
                  <a:pt x="3477313" y="3429674"/>
                  <a:pt x="3626919" y="3528277"/>
                  <a:pt x="3565575" y="3633710"/>
                </a:cubicBezTo>
                <a:cubicBezTo>
                  <a:pt x="3105467" y="3674014"/>
                  <a:pt x="1211722" y="3688676"/>
                  <a:pt x="747813" y="3610080"/>
                </a:cubicBezTo>
                <a:cubicBezTo>
                  <a:pt x="848694" y="3501052"/>
                  <a:pt x="904938" y="3523327"/>
                  <a:pt x="773624" y="3281068"/>
                </a:cubicBezTo>
                <a:cubicBezTo>
                  <a:pt x="515790" y="2716756"/>
                  <a:pt x="-55948" y="2358038"/>
                  <a:pt x="4436" y="1435013"/>
                </a:cubicBezTo>
                <a:close/>
              </a:path>
            </a:pathLst>
          </a:custGeom>
          <a:solidFill>
            <a:srgbClr val="FFFFFF">
              <a:lumMod val="85000"/>
            </a:srgbClr>
          </a:solidFill>
          <a:ln w="0" cap="flat" cmpd="sng" algn="ctr">
            <a:solidFill>
              <a:srgbClr val="FFFFFF">
                <a:lumMod val="6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>
              <a:solidFill>
                <a:prstClr val="white"/>
              </a:solidFill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47559BF-01FD-432C-820F-48726A6520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3444"/>
            <a:ext cx="8106305" cy="513211"/>
          </a:xfrm>
        </p:spPr>
        <p:txBody>
          <a:bodyPr/>
          <a:lstStyle/>
          <a:p>
            <a:r>
              <a:rPr lang="en-US" sz="2100"/>
              <a:t>How Our Brain Influences Decisions With Data</a:t>
            </a:r>
          </a:p>
        </p:txBody>
      </p:sp>
      <p:sp>
        <p:nvSpPr>
          <p:cNvPr id="2" name="Right Arrow 25">
            <a:extLst>
              <a:ext uri="{FF2B5EF4-FFF2-40B4-BE49-F238E27FC236}">
                <a16:creationId xmlns:a16="http://schemas.microsoft.com/office/drawing/2014/main" id="{C5D5985C-961E-8E7B-804E-A3B9787CEE05}"/>
              </a:ext>
            </a:extLst>
          </p:cNvPr>
          <p:cNvSpPr/>
          <p:nvPr/>
        </p:nvSpPr>
        <p:spPr>
          <a:xfrm>
            <a:off x="1918905" y="1835524"/>
            <a:ext cx="7081972" cy="1079069"/>
          </a:xfrm>
          <a:prstGeom prst="rightArrow">
            <a:avLst/>
          </a:prstGeom>
          <a:solidFill>
            <a:srgbClr val="545659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800" kern="0">
              <a:solidFill>
                <a:srgbClr val="FFFFFF"/>
              </a:solidFill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50C034F-BE35-577C-8EE1-6D606F0E763D}"/>
              </a:ext>
            </a:extLst>
          </p:cNvPr>
          <p:cNvGrpSpPr/>
          <p:nvPr/>
        </p:nvGrpSpPr>
        <p:grpSpPr>
          <a:xfrm>
            <a:off x="4907927" y="1749209"/>
            <a:ext cx="1074420" cy="1670998"/>
            <a:chOff x="5093312" y="4105241"/>
            <a:chExt cx="2134178" cy="1515137"/>
          </a:xfrm>
        </p:grpSpPr>
        <p:sp>
          <p:nvSpPr>
            <p:cNvPr id="8" name="Rounded Rectangle 17">
              <a:extLst>
                <a:ext uri="{FF2B5EF4-FFF2-40B4-BE49-F238E27FC236}">
                  <a16:creationId xmlns:a16="http://schemas.microsoft.com/office/drawing/2014/main" id="{15350A4B-3C86-0F17-6DC3-45CFD00FCCB6}"/>
                </a:ext>
              </a:extLst>
            </p:cNvPr>
            <p:cNvSpPr/>
            <p:nvPr/>
          </p:nvSpPr>
          <p:spPr>
            <a:xfrm>
              <a:off x="5093312" y="4105241"/>
              <a:ext cx="2134178" cy="1515137"/>
            </a:xfrm>
            <a:prstGeom prst="roundRect">
              <a:avLst/>
            </a:prstGeom>
            <a:solidFill>
              <a:srgbClr val="0065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800" kern="0">
                <a:solidFill>
                  <a:srgbClr val="FFFFFF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C3F18CB-1A04-757C-8271-E8DCF0B8E03C}"/>
                </a:ext>
              </a:extLst>
            </p:cNvPr>
            <p:cNvSpPr txBox="1"/>
            <p:nvPr/>
          </p:nvSpPr>
          <p:spPr>
            <a:xfrm>
              <a:off x="5302062" y="4168549"/>
              <a:ext cx="1563799" cy="2093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900" b="1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aluation</a:t>
              </a:r>
              <a:endParaRPr lang="en-US" sz="7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A9F6CB0-1471-AACB-34D3-BE56BFD7A402}"/>
              </a:ext>
            </a:extLst>
          </p:cNvPr>
          <p:cNvGrpSpPr/>
          <p:nvPr/>
        </p:nvGrpSpPr>
        <p:grpSpPr>
          <a:xfrm>
            <a:off x="2550896" y="1774490"/>
            <a:ext cx="1074916" cy="1629926"/>
            <a:chOff x="618354" y="4478828"/>
            <a:chExt cx="2651305" cy="1316625"/>
          </a:xfrm>
        </p:grpSpPr>
        <p:sp>
          <p:nvSpPr>
            <p:cNvPr id="30" name="Rounded Rectangle 5">
              <a:extLst>
                <a:ext uri="{FF2B5EF4-FFF2-40B4-BE49-F238E27FC236}">
                  <a16:creationId xmlns:a16="http://schemas.microsoft.com/office/drawing/2014/main" id="{6C0EF355-D0CB-CB6A-C9B8-11C6F543A853}"/>
                </a:ext>
              </a:extLst>
            </p:cNvPr>
            <p:cNvSpPr/>
            <p:nvPr/>
          </p:nvSpPr>
          <p:spPr>
            <a:xfrm>
              <a:off x="618354" y="4478828"/>
              <a:ext cx="2651305" cy="1316625"/>
            </a:xfrm>
            <a:prstGeom prst="roundRect">
              <a:avLst/>
            </a:prstGeom>
            <a:solidFill>
              <a:srgbClr val="0065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800" kern="0">
                <a:solidFill>
                  <a:srgbClr val="FFFFFF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467EA15-005E-8D54-E4BD-54B213AF2C42}"/>
                </a:ext>
              </a:extLst>
            </p:cNvPr>
            <p:cNvSpPr txBox="1"/>
            <p:nvPr/>
          </p:nvSpPr>
          <p:spPr>
            <a:xfrm>
              <a:off x="661723" y="4501869"/>
              <a:ext cx="2573454" cy="2216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900" b="1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ception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89ACFFB-4FA6-259B-CBEA-4AC2F2B143FA}"/>
              </a:ext>
            </a:extLst>
          </p:cNvPr>
          <p:cNvGrpSpPr/>
          <p:nvPr/>
        </p:nvGrpSpPr>
        <p:grpSpPr>
          <a:xfrm>
            <a:off x="3724347" y="1768146"/>
            <a:ext cx="1197513" cy="1639313"/>
            <a:chOff x="623069" y="2614973"/>
            <a:chExt cx="2599543" cy="1235298"/>
          </a:xfrm>
        </p:grpSpPr>
        <p:sp>
          <p:nvSpPr>
            <p:cNvPr id="33" name="Rounded Rectangle 9">
              <a:extLst>
                <a:ext uri="{FF2B5EF4-FFF2-40B4-BE49-F238E27FC236}">
                  <a16:creationId xmlns:a16="http://schemas.microsoft.com/office/drawing/2014/main" id="{151EA759-A8A6-4F69-4077-08A482078D0C}"/>
                </a:ext>
              </a:extLst>
            </p:cNvPr>
            <p:cNvSpPr/>
            <p:nvPr/>
          </p:nvSpPr>
          <p:spPr>
            <a:xfrm>
              <a:off x="623069" y="2614973"/>
              <a:ext cx="2332336" cy="1235298"/>
            </a:xfrm>
            <a:prstGeom prst="roundRect">
              <a:avLst/>
            </a:prstGeom>
            <a:solidFill>
              <a:srgbClr val="00658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800" kern="0">
                <a:solidFill>
                  <a:srgbClr val="FFFFFF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5F391B2-3D86-C8A7-6503-5D94C1ED1390}"/>
                </a:ext>
              </a:extLst>
            </p:cNvPr>
            <p:cNvSpPr txBox="1"/>
            <p:nvPr/>
          </p:nvSpPr>
          <p:spPr>
            <a:xfrm>
              <a:off x="922574" y="2642458"/>
              <a:ext cx="2300038" cy="2067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defRPr/>
              </a:pPr>
              <a:r>
                <a:rPr lang="en-US" sz="900" b="1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pretation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9EA13D5-92FA-B66D-74A4-68C2BDA5D2E4}"/>
              </a:ext>
            </a:extLst>
          </p:cNvPr>
          <p:cNvGrpSpPr/>
          <p:nvPr/>
        </p:nvGrpSpPr>
        <p:grpSpPr>
          <a:xfrm>
            <a:off x="510872" y="1593130"/>
            <a:ext cx="1503914" cy="1548010"/>
            <a:chOff x="3736018" y="2696347"/>
            <a:chExt cx="2134179" cy="2879055"/>
          </a:xfrm>
          <a:solidFill>
            <a:srgbClr val="1C345E"/>
          </a:solidFill>
        </p:grpSpPr>
        <p:sp>
          <p:nvSpPr>
            <p:cNvPr id="36" name="Rounded Rectangle 12">
              <a:extLst>
                <a:ext uri="{FF2B5EF4-FFF2-40B4-BE49-F238E27FC236}">
                  <a16:creationId xmlns:a16="http://schemas.microsoft.com/office/drawing/2014/main" id="{8D4B8C22-3C81-3F0D-35A3-CDA8AF6F6083}"/>
                </a:ext>
              </a:extLst>
            </p:cNvPr>
            <p:cNvSpPr/>
            <p:nvPr/>
          </p:nvSpPr>
          <p:spPr>
            <a:xfrm>
              <a:off x="3736018" y="2696347"/>
              <a:ext cx="2134179" cy="2879055"/>
            </a:xfrm>
            <a:prstGeom prst="roundRect">
              <a:avLst>
                <a:gd name="adj" fmla="val 8633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800" kern="0">
                <a:solidFill>
                  <a:srgbClr val="FFFFFF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FDD56851-88C2-D88F-B66F-BDB9A1A24E23}"/>
                </a:ext>
              </a:extLst>
            </p:cNvPr>
            <p:cNvSpPr txBox="1"/>
            <p:nvPr/>
          </p:nvSpPr>
          <p:spPr>
            <a:xfrm>
              <a:off x="4304835" y="2782261"/>
              <a:ext cx="1079339" cy="48655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100" b="1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puts</a:t>
              </a:r>
              <a:endParaRPr lang="en-US" sz="10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C195303D-BE38-8B47-3706-04499ED90A84}"/>
              </a:ext>
            </a:extLst>
          </p:cNvPr>
          <p:cNvGrpSpPr/>
          <p:nvPr/>
        </p:nvGrpSpPr>
        <p:grpSpPr>
          <a:xfrm>
            <a:off x="6635648" y="1593131"/>
            <a:ext cx="1503914" cy="1548010"/>
            <a:chOff x="9158316" y="2159046"/>
            <a:chExt cx="2134179" cy="2864617"/>
          </a:xfrm>
        </p:grpSpPr>
        <p:sp>
          <p:nvSpPr>
            <p:cNvPr id="39" name="Rounded Rectangle 22">
              <a:extLst>
                <a:ext uri="{FF2B5EF4-FFF2-40B4-BE49-F238E27FC236}">
                  <a16:creationId xmlns:a16="http://schemas.microsoft.com/office/drawing/2014/main" id="{C3A55EB4-DD83-A0A1-C4CC-646AD5DCDED9}"/>
                </a:ext>
              </a:extLst>
            </p:cNvPr>
            <p:cNvSpPr/>
            <p:nvPr/>
          </p:nvSpPr>
          <p:spPr>
            <a:xfrm>
              <a:off x="9158316" y="2167662"/>
              <a:ext cx="2134179" cy="2856001"/>
            </a:xfrm>
            <a:prstGeom prst="roundRect">
              <a:avLst>
                <a:gd name="adj" fmla="val 9303"/>
              </a:avLst>
            </a:prstGeom>
            <a:solidFill>
              <a:srgbClr val="1C345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800" kern="0">
                <a:solidFill>
                  <a:srgbClr val="FFFFFF"/>
                </a:solidFill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47586060-2E91-F0A3-DD13-ED09C4E7B6C1}"/>
                </a:ext>
              </a:extLst>
            </p:cNvPr>
            <p:cNvGrpSpPr/>
            <p:nvPr/>
          </p:nvGrpSpPr>
          <p:grpSpPr>
            <a:xfrm>
              <a:off x="9347432" y="2159046"/>
              <a:ext cx="1716767" cy="1783728"/>
              <a:chOff x="3975900" y="1678102"/>
              <a:chExt cx="1716767" cy="1783728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DA80E07-1E08-7826-9B15-B71392407666}"/>
                  </a:ext>
                </a:extLst>
              </p:cNvPr>
              <p:cNvSpPr txBox="1"/>
              <p:nvPr/>
            </p:nvSpPr>
            <p:spPr>
              <a:xfrm>
                <a:off x="4265461" y="1678102"/>
                <a:ext cx="1137646" cy="4698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en-US" sz="1050" b="1" kern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utputs</a:t>
                </a:r>
                <a:endParaRPr lang="en-US" sz="900" b="1" ker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7C10E7EB-32F1-7402-62A9-48DD1B472FF3}"/>
                  </a:ext>
                </a:extLst>
              </p:cNvPr>
              <p:cNvSpPr txBox="1"/>
              <p:nvPr/>
            </p:nvSpPr>
            <p:spPr>
              <a:xfrm>
                <a:off x="3975900" y="2185216"/>
                <a:ext cx="1716767" cy="12766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  <a:defRPr/>
                </a:pPr>
                <a:r>
                  <a:rPr lang="en-US" sz="900" kern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Judgements</a:t>
                </a:r>
              </a:p>
              <a:p>
                <a:pPr>
                  <a:lnSpc>
                    <a:spcPct val="150000"/>
                  </a:lnSpc>
                  <a:defRPr/>
                </a:pPr>
                <a:r>
                  <a:rPr lang="en-US" sz="900" kern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ehaviors</a:t>
                </a:r>
              </a:p>
              <a:p>
                <a:pPr>
                  <a:lnSpc>
                    <a:spcPct val="150000"/>
                  </a:lnSpc>
                  <a:defRPr/>
                </a:pPr>
                <a:r>
                  <a:rPr lang="en-US" sz="900" kern="0">
                    <a:solidFill>
                      <a:srgbClr val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cisions</a:t>
                </a:r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FED2119E-7B12-99FF-E028-757123F44B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3800" y="2599926"/>
            <a:ext cx="476371" cy="47637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CD5DF0-2493-073D-BCBB-7C2A4BDB6B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0026" y="3012706"/>
            <a:ext cx="336656" cy="336656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8881BC67-A2B2-77DF-7E32-7F79C58CEA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7002" y="2947102"/>
            <a:ext cx="379439" cy="37943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59B22DC9-7E4B-DDE1-6B86-D148F8E3F8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55970" y="2650366"/>
            <a:ext cx="457200" cy="457200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1E68EFEE-E1FB-5B24-FCBA-955E947025EE}"/>
              </a:ext>
            </a:extLst>
          </p:cNvPr>
          <p:cNvSpPr txBox="1"/>
          <p:nvPr/>
        </p:nvSpPr>
        <p:spPr>
          <a:xfrm>
            <a:off x="3598329" y="1460256"/>
            <a:ext cx="14205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>
                <a:solidFill>
                  <a:srgbClr val="5B5C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iefs, Experience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1745E8DB-C3C3-DF9E-BB66-A657D4DF68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30621" y="3078914"/>
            <a:ext cx="302536" cy="27432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F2F1DDDB-D76D-5E12-A5A4-8CFA8D1292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17256" y="762372"/>
            <a:ext cx="853031" cy="765567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FD7AAAF0-7198-5786-5483-A86A991B8738}"/>
              </a:ext>
            </a:extLst>
          </p:cNvPr>
          <p:cNvSpPr txBox="1"/>
          <p:nvPr/>
        </p:nvSpPr>
        <p:spPr>
          <a:xfrm>
            <a:off x="2646486" y="2080406"/>
            <a:ext cx="678391" cy="8753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uition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uristics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as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otions</a:t>
            </a:r>
            <a:endParaRPr lang="en-US" sz="9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B61D52A-BF75-C868-2E71-5448E146EDBB}"/>
              </a:ext>
            </a:extLst>
          </p:cNvPr>
          <p:cNvSpPr txBox="1"/>
          <p:nvPr/>
        </p:nvSpPr>
        <p:spPr>
          <a:xfrm>
            <a:off x="3761643" y="2047908"/>
            <a:ext cx="1107996" cy="10773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ptions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gical Fallacies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gnitive Limits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al Limits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e</a:t>
            </a:r>
            <a:endParaRPr lang="en-US" sz="9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47D4EE2-5BB0-683B-A063-ABA5763B6578}"/>
              </a:ext>
            </a:extLst>
          </p:cNvPr>
          <p:cNvSpPr txBox="1"/>
          <p:nvPr/>
        </p:nvSpPr>
        <p:spPr>
          <a:xfrm>
            <a:off x="4938347" y="2047908"/>
            <a:ext cx="896399" cy="8753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/Reward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Factors</a:t>
            </a:r>
          </a:p>
          <a:p>
            <a:pPr>
              <a:lnSpc>
                <a:spcPct val="150000"/>
              </a:lnSpc>
            </a:pPr>
            <a:r>
              <a:rPr lang="en-US" sz="875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cs</a:t>
            </a:r>
            <a:endParaRPr lang="en-US" sz="900" ker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508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2" grpId="0" animBg="1"/>
      <p:bldP spid="47" grpId="0"/>
      <p:bldP spid="51" grpId="0"/>
      <p:bldP spid="52" grpId="0"/>
      <p:bldP spid="5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6">
            <a:extLst>
              <a:ext uri="{FF2B5EF4-FFF2-40B4-BE49-F238E27FC236}">
                <a16:creationId xmlns:a16="http://schemas.microsoft.com/office/drawing/2014/main" id="{59C1B0C4-8114-6E1C-99FE-B9F95012D417}"/>
              </a:ext>
            </a:extLst>
          </p:cNvPr>
          <p:cNvSpPr/>
          <p:nvPr/>
        </p:nvSpPr>
        <p:spPr>
          <a:xfrm>
            <a:off x="6876552" y="958738"/>
            <a:ext cx="2034025" cy="1122447"/>
          </a:xfrm>
          <a:prstGeom prst="roundRect">
            <a:avLst>
              <a:gd name="adj" fmla="val 11397"/>
            </a:avLst>
          </a:prstGeom>
          <a:solidFill>
            <a:schemeClr val="bg2"/>
          </a:solidFill>
          <a:ln w="2857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16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11" name="Rectangle: Rounded Corners 8">
            <a:extLst>
              <a:ext uri="{FF2B5EF4-FFF2-40B4-BE49-F238E27FC236}">
                <a16:creationId xmlns:a16="http://schemas.microsoft.com/office/drawing/2014/main" id="{95F891FA-9002-E216-B62B-9B11CC0D219F}"/>
              </a:ext>
            </a:extLst>
          </p:cNvPr>
          <p:cNvSpPr/>
          <p:nvPr/>
        </p:nvSpPr>
        <p:spPr>
          <a:xfrm>
            <a:off x="4647310" y="967510"/>
            <a:ext cx="2034025" cy="1117692"/>
          </a:xfrm>
          <a:prstGeom prst="roundRect">
            <a:avLst>
              <a:gd name="adj" fmla="val 11802"/>
            </a:avLst>
          </a:prstGeom>
          <a:solidFill>
            <a:schemeClr val="bg2"/>
          </a:solidFill>
          <a:ln w="2857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16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5" name="Rectangle: Rounded Corners 6">
            <a:extLst>
              <a:ext uri="{FF2B5EF4-FFF2-40B4-BE49-F238E27FC236}">
                <a16:creationId xmlns:a16="http://schemas.microsoft.com/office/drawing/2014/main" id="{9E9ECF25-EDD6-9DAD-FE11-69C8CDBD50BC}"/>
              </a:ext>
            </a:extLst>
          </p:cNvPr>
          <p:cNvSpPr/>
          <p:nvPr/>
        </p:nvSpPr>
        <p:spPr>
          <a:xfrm>
            <a:off x="2418068" y="976578"/>
            <a:ext cx="2034025" cy="1122447"/>
          </a:xfrm>
          <a:prstGeom prst="roundRect">
            <a:avLst>
              <a:gd name="adj" fmla="val 11397"/>
            </a:avLst>
          </a:prstGeom>
          <a:solidFill>
            <a:schemeClr val="bg2"/>
          </a:solidFill>
          <a:ln w="2857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16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2" name="Rectangle: Rounded Corners 10">
            <a:extLst>
              <a:ext uri="{FF2B5EF4-FFF2-40B4-BE49-F238E27FC236}">
                <a16:creationId xmlns:a16="http://schemas.microsoft.com/office/drawing/2014/main" id="{83C4DFA3-9A45-3FA9-64B0-CFB6C97A9E93}"/>
              </a:ext>
            </a:extLst>
          </p:cNvPr>
          <p:cNvSpPr/>
          <p:nvPr/>
        </p:nvSpPr>
        <p:spPr>
          <a:xfrm>
            <a:off x="188827" y="977668"/>
            <a:ext cx="2034024" cy="1121856"/>
          </a:xfrm>
          <a:prstGeom prst="roundRect">
            <a:avLst>
              <a:gd name="adj" fmla="val 11397"/>
            </a:avLst>
          </a:prstGeom>
          <a:solidFill>
            <a:schemeClr val="bg2"/>
          </a:solidFill>
          <a:ln w="2857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16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6" name="Title 15">
            <a:extLst>
              <a:ext uri="{FF2B5EF4-FFF2-40B4-BE49-F238E27FC236}">
                <a16:creationId xmlns:a16="http://schemas.microsoft.com/office/drawing/2014/main" id="{E31C58C7-DE95-4D57-B677-5F444C30D6AF}"/>
              </a:ext>
            </a:extLst>
          </p:cNvPr>
          <p:cNvSpPr txBox="1">
            <a:spLocks/>
          </p:cNvSpPr>
          <p:nvPr/>
        </p:nvSpPr>
        <p:spPr>
          <a:xfrm>
            <a:off x="495300" y="156059"/>
            <a:ext cx="8534400" cy="323165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ctr" defTabSz="385713" rtl="0" eaLnBrk="1" latinLnBrk="0" hangingPunct="1">
              <a:spcBef>
                <a:spcPct val="0"/>
              </a:spcBef>
              <a:buNone/>
              <a:defRPr sz="2250" b="1" kern="1200">
                <a:solidFill>
                  <a:srgbClr val="8E909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8571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00">
                <a:solidFill>
                  <a:srgbClr val="54565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Traditional Decision Models are Outdated</a:t>
            </a:r>
            <a:endParaRPr kumimoji="0" lang="en-US" sz="2100" b="1" i="0" u="none" strike="noStrike" kern="1200" cap="none" spc="0" normalizeH="0" baseline="0" noProof="0">
              <a:ln>
                <a:noFill/>
              </a:ln>
              <a:solidFill>
                <a:srgbClr val="545659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D40EA6-9E46-416B-7651-AC6F66C45580}"/>
              </a:ext>
            </a:extLst>
          </p:cNvPr>
          <p:cNvSpPr/>
          <p:nvPr/>
        </p:nvSpPr>
        <p:spPr>
          <a:xfrm>
            <a:off x="203354" y="1224834"/>
            <a:ext cx="204391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Increased Complexity and Uncertain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4B09DE0-6CCE-A7CA-0EDF-64A92612F630}"/>
              </a:ext>
            </a:extLst>
          </p:cNvPr>
          <p:cNvSpPr/>
          <p:nvPr/>
        </p:nvSpPr>
        <p:spPr>
          <a:xfrm>
            <a:off x="2425148" y="1233537"/>
            <a:ext cx="200722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Data Explosion and Information Overloa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F459967-283C-5D55-5CE9-2F08C834D3B7}"/>
              </a:ext>
            </a:extLst>
          </p:cNvPr>
          <p:cNvSpPr/>
          <p:nvPr/>
        </p:nvSpPr>
        <p:spPr>
          <a:xfrm>
            <a:off x="4657010" y="1233537"/>
            <a:ext cx="209596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peed and Agility are Critica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DE3CB82-54DE-5D3D-544D-E4757451D31A}"/>
              </a:ext>
            </a:extLst>
          </p:cNvPr>
          <p:cNvSpPr/>
          <p:nvPr/>
        </p:nvSpPr>
        <p:spPr>
          <a:xfrm>
            <a:off x="6888049" y="1218644"/>
            <a:ext cx="204391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ontinuous Feedback and Learning</a:t>
            </a:r>
          </a:p>
        </p:txBody>
      </p:sp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308F7A16-7756-C020-72DA-498D0386831E}"/>
              </a:ext>
            </a:extLst>
          </p:cNvPr>
          <p:cNvSpPr/>
          <p:nvPr/>
        </p:nvSpPr>
        <p:spPr>
          <a:xfrm>
            <a:off x="4661838" y="2479235"/>
            <a:ext cx="2034025" cy="1122447"/>
          </a:xfrm>
          <a:prstGeom prst="roundRect">
            <a:avLst>
              <a:gd name="adj" fmla="val 11397"/>
            </a:avLst>
          </a:prstGeom>
          <a:solidFill>
            <a:schemeClr val="bg2"/>
          </a:solidFill>
          <a:ln w="2857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16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24" name="Rectangle: Rounded Corners 8">
            <a:extLst>
              <a:ext uri="{FF2B5EF4-FFF2-40B4-BE49-F238E27FC236}">
                <a16:creationId xmlns:a16="http://schemas.microsoft.com/office/drawing/2014/main" id="{DF4C4EC7-6F95-DC73-5C37-3852C836C524}"/>
              </a:ext>
            </a:extLst>
          </p:cNvPr>
          <p:cNvSpPr/>
          <p:nvPr/>
        </p:nvSpPr>
        <p:spPr>
          <a:xfrm>
            <a:off x="2432596" y="2488007"/>
            <a:ext cx="2034025" cy="1117692"/>
          </a:xfrm>
          <a:prstGeom prst="roundRect">
            <a:avLst>
              <a:gd name="adj" fmla="val 11802"/>
            </a:avLst>
          </a:prstGeom>
          <a:solidFill>
            <a:schemeClr val="bg2"/>
          </a:solidFill>
          <a:ln w="2857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16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25" name="Rectangle: Rounded Corners 6">
            <a:extLst>
              <a:ext uri="{FF2B5EF4-FFF2-40B4-BE49-F238E27FC236}">
                <a16:creationId xmlns:a16="http://schemas.microsoft.com/office/drawing/2014/main" id="{00C2BFE9-F979-EEA9-0BF2-142B3108DAA7}"/>
              </a:ext>
            </a:extLst>
          </p:cNvPr>
          <p:cNvSpPr/>
          <p:nvPr/>
        </p:nvSpPr>
        <p:spPr>
          <a:xfrm>
            <a:off x="203354" y="2497075"/>
            <a:ext cx="2034025" cy="1122447"/>
          </a:xfrm>
          <a:prstGeom prst="roundRect">
            <a:avLst>
              <a:gd name="adj" fmla="val 11397"/>
            </a:avLst>
          </a:prstGeom>
          <a:solidFill>
            <a:schemeClr val="bg2"/>
          </a:solidFill>
          <a:ln w="2857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16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460FC25-EE4D-04E0-F589-41A17555E40A}"/>
              </a:ext>
            </a:extLst>
          </p:cNvPr>
          <p:cNvSpPr/>
          <p:nvPr/>
        </p:nvSpPr>
        <p:spPr>
          <a:xfrm>
            <a:off x="310004" y="2702522"/>
            <a:ext cx="190765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Rise of AI and Data-Driven Decision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779C786-63CA-7A17-07E4-9CF89F646366}"/>
              </a:ext>
            </a:extLst>
          </p:cNvPr>
          <p:cNvSpPr/>
          <p:nvPr/>
        </p:nvSpPr>
        <p:spPr>
          <a:xfrm>
            <a:off x="2442296" y="2702522"/>
            <a:ext cx="209596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ustomer Expectations and Market Dynamic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6975572-EA02-D751-A62E-7C5649AF6CB0}"/>
              </a:ext>
            </a:extLst>
          </p:cNvPr>
          <p:cNvSpPr/>
          <p:nvPr/>
        </p:nvSpPr>
        <p:spPr>
          <a:xfrm>
            <a:off x="4673335" y="2687629"/>
            <a:ext cx="204391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Globalization and Cross-Functional Decision-Making</a:t>
            </a:r>
          </a:p>
        </p:txBody>
      </p:sp>
      <p:sp>
        <p:nvSpPr>
          <p:cNvPr id="3" name="Rectangle: Rounded Corners 6">
            <a:extLst>
              <a:ext uri="{FF2B5EF4-FFF2-40B4-BE49-F238E27FC236}">
                <a16:creationId xmlns:a16="http://schemas.microsoft.com/office/drawing/2014/main" id="{7DD5E713-196E-DFEA-346F-0C3D9E0CA313}"/>
              </a:ext>
            </a:extLst>
          </p:cNvPr>
          <p:cNvSpPr/>
          <p:nvPr/>
        </p:nvSpPr>
        <p:spPr>
          <a:xfrm>
            <a:off x="6876552" y="2501092"/>
            <a:ext cx="2034025" cy="1122447"/>
          </a:xfrm>
          <a:prstGeom prst="roundRect">
            <a:avLst>
              <a:gd name="adj" fmla="val 11397"/>
            </a:avLst>
          </a:prstGeom>
          <a:solidFill>
            <a:schemeClr val="bg2"/>
          </a:solidFill>
          <a:ln w="28575" cap="flat" cmpd="sng" algn="ctr">
            <a:solidFill>
              <a:schemeClr val="bg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816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5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7EF5D33-33FB-59CB-DF04-8EA5C5D83C63}"/>
              </a:ext>
            </a:extLst>
          </p:cNvPr>
          <p:cNvSpPr/>
          <p:nvPr/>
        </p:nvSpPr>
        <p:spPr>
          <a:xfrm>
            <a:off x="6888049" y="2703848"/>
            <a:ext cx="204391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Technological</a:t>
            </a:r>
            <a:r>
              <a:rPr kumimoji="0" lang="en-US" sz="13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Disruption and Digital Transformation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2989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1" grpId="0" animBg="1"/>
      <p:bldP spid="5" grpId="0" animBg="1"/>
      <p:bldP spid="2" grpId="0" animBg="1"/>
      <p:bldP spid="9" grpId="0"/>
      <p:bldP spid="14" grpId="0"/>
      <p:bldP spid="19" grpId="0"/>
      <p:bldP spid="22" grpId="0"/>
      <p:bldP spid="4" grpId="0" animBg="1"/>
      <p:bldP spid="24" grpId="0" animBg="1"/>
      <p:bldP spid="25" grpId="0" animBg="1"/>
      <p:bldP spid="26" grpId="0"/>
      <p:bldP spid="28" grpId="0"/>
      <p:bldP spid="30" grpId="0"/>
      <p:bldP spid="3" grpId="0" animBg="1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35E313-4E08-EF3A-8AFB-C20E5E883E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6B03E22-E8D9-E851-395A-C38E5B419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3444"/>
            <a:ext cx="8106305" cy="513211"/>
          </a:xfrm>
        </p:spPr>
        <p:txBody>
          <a:bodyPr/>
          <a:lstStyle/>
          <a:p>
            <a:r>
              <a:rPr lang="en-US" sz="2100"/>
              <a:t>The Impact of Outdated Decision-Making Model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3746BEC-6FA5-55F0-A1A9-14198AEFDA52}"/>
              </a:ext>
            </a:extLst>
          </p:cNvPr>
          <p:cNvSpPr/>
          <p:nvPr/>
        </p:nvSpPr>
        <p:spPr>
          <a:xfrm>
            <a:off x="180610" y="1429230"/>
            <a:ext cx="1645920" cy="1854883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2C4C57A-629D-1112-82D9-32183906BB35}"/>
              </a:ext>
            </a:extLst>
          </p:cNvPr>
          <p:cNvSpPr/>
          <p:nvPr/>
        </p:nvSpPr>
        <p:spPr>
          <a:xfrm>
            <a:off x="1922659" y="1426886"/>
            <a:ext cx="1645920" cy="1854883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47EFE47-480E-74FE-5969-7BFE77858456}"/>
              </a:ext>
            </a:extLst>
          </p:cNvPr>
          <p:cNvSpPr/>
          <p:nvPr/>
        </p:nvSpPr>
        <p:spPr>
          <a:xfrm>
            <a:off x="3692843" y="1424541"/>
            <a:ext cx="1645920" cy="1854883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19B792-6921-CA51-357A-25271F437CEB}"/>
              </a:ext>
            </a:extLst>
          </p:cNvPr>
          <p:cNvSpPr/>
          <p:nvPr/>
        </p:nvSpPr>
        <p:spPr>
          <a:xfrm>
            <a:off x="5465373" y="1410473"/>
            <a:ext cx="1645920" cy="1854883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8702BA-4AB5-6EF9-F8AC-A17DFFD17E5A}"/>
              </a:ext>
            </a:extLst>
          </p:cNvPr>
          <p:cNvSpPr/>
          <p:nvPr/>
        </p:nvSpPr>
        <p:spPr>
          <a:xfrm>
            <a:off x="7270727" y="1408128"/>
            <a:ext cx="1645920" cy="1854883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40C2B8-752A-6D0F-D084-11F8286E08C2}"/>
              </a:ext>
            </a:extLst>
          </p:cNvPr>
          <p:cNvSpPr txBox="1"/>
          <p:nvPr/>
        </p:nvSpPr>
        <p:spPr>
          <a:xfrm>
            <a:off x="128046" y="1453978"/>
            <a:ext cx="176417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  <a:latin typeface="+mj-lt"/>
              </a:rPr>
              <a:t>Business Performance Impacts</a:t>
            </a: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Reduced Competitive Edge</a:t>
            </a:r>
          </a:p>
          <a:p>
            <a:endParaRPr lang="en-US" sz="1100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Lost Opportuniti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3108478-7506-C1DB-84FC-80E82DC1DFAE}"/>
              </a:ext>
            </a:extLst>
          </p:cNvPr>
          <p:cNvSpPr txBox="1"/>
          <p:nvPr/>
        </p:nvSpPr>
        <p:spPr>
          <a:xfrm>
            <a:off x="1901708" y="1484750"/>
            <a:ext cx="1681012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  <a:latin typeface="+mj-lt"/>
              </a:rPr>
              <a:t>Operational Impacts</a:t>
            </a: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Decreased Agility and Adaptability</a:t>
            </a:r>
          </a:p>
          <a:p>
            <a:endParaRPr lang="en-US" sz="1100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Decline in Efficiency</a:t>
            </a: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D11B9D1-FFC9-729E-1D57-E9F9A285F5C6}"/>
              </a:ext>
            </a:extLst>
          </p:cNvPr>
          <p:cNvSpPr txBox="1"/>
          <p:nvPr/>
        </p:nvSpPr>
        <p:spPr>
          <a:xfrm>
            <a:off x="3676470" y="1453978"/>
            <a:ext cx="1681012" cy="1831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  <a:latin typeface="+mj-lt"/>
              </a:rPr>
              <a:t>Customer Impacts</a:t>
            </a: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Missed Customer Expectations</a:t>
            </a:r>
          </a:p>
          <a:p>
            <a:endParaRPr lang="en-US" sz="1100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Reduced Customer Satisfaction</a:t>
            </a:r>
          </a:p>
          <a:p>
            <a:endParaRPr lang="en-US" sz="1100">
              <a:solidFill>
                <a:schemeClr val="bg2"/>
              </a:solidFill>
              <a:latin typeface="+mj-lt"/>
            </a:endParaRPr>
          </a:p>
          <a:p>
            <a:endParaRPr lang="en-US" sz="11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0C8E8D-1F60-05B9-EAE7-42AD1ACF20FE}"/>
              </a:ext>
            </a:extLst>
          </p:cNvPr>
          <p:cNvSpPr txBox="1"/>
          <p:nvPr/>
        </p:nvSpPr>
        <p:spPr>
          <a:xfrm>
            <a:off x="5449033" y="1453978"/>
            <a:ext cx="1681012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  <a:latin typeface="+mj-lt"/>
              </a:rPr>
              <a:t>Employee Impacts</a:t>
            </a:r>
          </a:p>
          <a:p>
            <a:endParaRPr lang="en-US" sz="1200">
              <a:solidFill>
                <a:schemeClr val="bg2"/>
              </a:solidFill>
              <a:latin typeface="+mj-lt"/>
            </a:endParaRPr>
          </a:p>
          <a:p>
            <a:endParaRPr lang="en-US" sz="1200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Lower Engagement </a:t>
            </a:r>
          </a:p>
          <a:p>
            <a:endParaRPr lang="en-US" sz="1100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Reduced Innovation</a:t>
            </a:r>
          </a:p>
          <a:p>
            <a:endParaRPr lang="en-US" sz="1100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Increased Employee Frustration &amp; Burnout</a:t>
            </a:r>
          </a:p>
          <a:p>
            <a:endParaRPr lang="en-US" sz="1200">
              <a:solidFill>
                <a:schemeClr val="bg2"/>
              </a:solidFill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7010D3-5775-83FF-CA5F-31BEE747D849}"/>
              </a:ext>
            </a:extLst>
          </p:cNvPr>
          <p:cNvSpPr txBox="1"/>
          <p:nvPr/>
        </p:nvSpPr>
        <p:spPr>
          <a:xfrm>
            <a:off x="7235557" y="1453978"/>
            <a:ext cx="1681012" cy="1508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>
                <a:solidFill>
                  <a:schemeClr val="bg2"/>
                </a:solidFill>
                <a:latin typeface="+mj-lt"/>
              </a:rPr>
              <a:t>Long-Term Impacts</a:t>
            </a: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Reduced Sustainability</a:t>
            </a:r>
          </a:p>
          <a:p>
            <a:endParaRPr lang="en-US" sz="1100">
              <a:solidFill>
                <a:schemeClr val="bg2"/>
              </a:solidFill>
              <a:latin typeface="+mj-lt"/>
            </a:endParaRPr>
          </a:p>
          <a:p>
            <a:r>
              <a:rPr lang="en-US" sz="1100">
                <a:solidFill>
                  <a:schemeClr val="bg2"/>
                </a:solidFill>
                <a:latin typeface="+mj-lt"/>
              </a:rPr>
              <a:t>Reduced Long-Term Success</a:t>
            </a:r>
          </a:p>
          <a:p>
            <a:pPr algn="ctr"/>
            <a:endParaRPr lang="en-US" sz="1200" b="1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2981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DDDDDD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808080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DDDDDD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808080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DDDDDD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808080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DDDDDD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808080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DDDDDD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808080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5" grpId="0" animBg="1"/>
      <p:bldP spid="6" grpId="0" animBg="1"/>
      <p:bldP spid="9" grpId="0" animBg="1"/>
      <p:bldP spid="7" grpId="0"/>
      <p:bldP spid="12" grpId="0"/>
      <p:bldP spid="15" grpId="0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5">
            <a:extLst>
              <a:ext uri="{FF2B5EF4-FFF2-40B4-BE49-F238E27FC236}">
                <a16:creationId xmlns:a16="http://schemas.microsoft.com/office/drawing/2014/main" id="{E31C58C7-DE95-4D57-B677-5F444C30D6AF}"/>
              </a:ext>
            </a:extLst>
          </p:cNvPr>
          <p:cNvSpPr txBox="1">
            <a:spLocks/>
          </p:cNvSpPr>
          <p:nvPr/>
        </p:nvSpPr>
        <p:spPr>
          <a:xfrm>
            <a:off x="495300" y="146227"/>
            <a:ext cx="8534400" cy="323165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ctr" defTabSz="385713" rtl="0" eaLnBrk="1" latinLnBrk="0" hangingPunct="1">
              <a:spcBef>
                <a:spcPct val="0"/>
              </a:spcBef>
              <a:buNone/>
              <a:defRPr sz="2250" b="1" kern="1200">
                <a:solidFill>
                  <a:srgbClr val="8E909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8571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>
                <a:ln>
                  <a:noFill/>
                </a:ln>
                <a:solidFill>
                  <a:srgbClr val="54565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What is Needed Now?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DB23D3F-D3D7-B7E6-F573-01686C8C910F}"/>
              </a:ext>
            </a:extLst>
          </p:cNvPr>
          <p:cNvSpPr/>
          <p:nvPr/>
        </p:nvSpPr>
        <p:spPr>
          <a:xfrm>
            <a:off x="195313" y="914397"/>
            <a:ext cx="1828800" cy="1828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AACC1454-C262-55C1-37A7-DC9F4FDC0676}"/>
              </a:ext>
            </a:extLst>
          </p:cNvPr>
          <p:cNvSpPr/>
          <p:nvPr/>
        </p:nvSpPr>
        <p:spPr>
          <a:xfrm>
            <a:off x="2557672" y="877953"/>
            <a:ext cx="1828800" cy="1828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B19D2EBF-E8EF-9047-83C4-8110DC6B44B8}"/>
              </a:ext>
            </a:extLst>
          </p:cNvPr>
          <p:cNvSpPr/>
          <p:nvPr/>
        </p:nvSpPr>
        <p:spPr>
          <a:xfrm>
            <a:off x="4803916" y="877954"/>
            <a:ext cx="1828800" cy="1828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D2531F8-DF52-AC0E-C29B-18DED47158AC}"/>
              </a:ext>
            </a:extLst>
          </p:cNvPr>
          <p:cNvSpPr/>
          <p:nvPr/>
        </p:nvSpPr>
        <p:spPr>
          <a:xfrm>
            <a:off x="7144241" y="841510"/>
            <a:ext cx="1828800" cy="1828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C05123D2-59C4-4CF1-A0C6-823A85342415}"/>
              </a:ext>
            </a:extLst>
          </p:cNvPr>
          <p:cNvSpPr/>
          <p:nvPr/>
        </p:nvSpPr>
        <p:spPr>
          <a:xfrm>
            <a:off x="148930" y="3024805"/>
            <a:ext cx="1828800" cy="1828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532E2E4-FBF9-3649-85F2-9101E5BA952D}"/>
              </a:ext>
            </a:extLst>
          </p:cNvPr>
          <p:cNvSpPr/>
          <p:nvPr/>
        </p:nvSpPr>
        <p:spPr>
          <a:xfrm>
            <a:off x="2511289" y="2988361"/>
            <a:ext cx="1828800" cy="1828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61070CA-01B9-0596-3634-10AF89AC8AD3}"/>
              </a:ext>
            </a:extLst>
          </p:cNvPr>
          <p:cNvSpPr/>
          <p:nvPr/>
        </p:nvSpPr>
        <p:spPr>
          <a:xfrm>
            <a:off x="4757533" y="2988362"/>
            <a:ext cx="1828800" cy="1828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C738BA0-9B9C-419C-A754-95EDC2D86D80}"/>
              </a:ext>
            </a:extLst>
          </p:cNvPr>
          <p:cNvSpPr/>
          <p:nvPr/>
        </p:nvSpPr>
        <p:spPr>
          <a:xfrm>
            <a:off x="7097858" y="2951918"/>
            <a:ext cx="1828800" cy="18288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FFE5184-0C4F-F5FE-062E-7602829BEEF8}"/>
              </a:ext>
            </a:extLst>
          </p:cNvPr>
          <p:cNvSpPr txBox="1"/>
          <p:nvPr/>
        </p:nvSpPr>
        <p:spPr>
          <a:xfrm>
            <a:off x="195310" y="1451113"/>
            <a:ext cx="1789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ility and Flexibilit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E8A48FD-F819-954D-9A3A-E7485619A3A9}"/>
              </a:ext>
            </a:extLst>
          </p:cNvPr>
          <p:cNvSpPr txBox="1"/>
          <p:nvPr/>
        </p:nvSpPr>
        <p:spPr>
          <a:xfrm>
            <a:off x="2577547" y="1474304"/>
            <a:ext cx="1789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-Informed and Insightful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25D6AD6-576E-0B45-155B-1E4189CAC47A}"/>
              </a:ext>
            </a:extLst>
          </p:cNvPr>
          <p:cNvSpPr txBox="1"/>
          <p:nvPr/>
        </p:nvSpPr>
        <p:spPr>
          <a:xfrm>
            <a:off x="4833730" y="1305339"/>
            <a:ext cx="17890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ous Feedback and Learning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1A8DABA-AF3F-7DD0-1FA6-ED426E6A91ED}"/>
              </a:ext>
            </a:extLst>
          </p:cNvPr>
          <p:cNvSpPr txBox="1"/>
          <p:nvPr/>
        </p:nvSpPr>
        <p:spPr>
          <a:xfrm>
            <a:off x="7174054" y="1388165"/>
            <a:ext cx="1789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ss-Functional Collabora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E5A2E0D-2522-BC5B-C4F6-75481C97F6BB}"/>
              </a:ext>
            </a:extLst>
          </p:cNvPr>
          <p:cNvSpPr txBox="1"/>
          <p:nvPr/>
        </p:nvSpPr>
        <p:spPr>
          <a:xfrm>
            <a:off x="168806" y="3422374"/>
            <a:ext cx="17890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and Automation Integration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81A5454-AC03-709D-8F9F-B399EB5B8233}"/>
              </a:ext>
            </a:extLst>
          </p:cNvPr>
          <p:cNvSpPr txBox="1"/>
          <p:nvPr/>
        </p:nvSpPr>
        <p:spPr>
          <a:xfrm>
            <a:off x="2545520" y="3554895"/>
            <a:ext cx="17890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-Centric Focu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D06DE1E-B61D-3C59-73D5-DF0ED5D8CAD6}"/>
              </a:ext>
            </a:extLst>
          </p:cNvPr>
          <p:cNvSpPr txBox="1"/>
          <p:nvPr/>
        </p:nvSpPr>
        <p:spPr>
          <a:xfrm>
            <a:off x="4767469" y="3266661"/>
            <a:ext cx="178904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Management and Scenario Planning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91304CD-3260-49DC-8450-5F95C9E492F5}"/>
              </a:ext>
            </a:extLst>
          </p:cNvPr>
          <p:cNvSpPr txBox="1"/>
          <p:nvPr/>
        </p:nvSpPr>
        <p:spPr>
          <a:xfrm>
            <a:off x="7137611" y="3306904"/>
            <a:ext cx="17890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ical and Responsible Decision-Mak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5901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3B448-6290-DDF4-3407-E4B51649FE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5">
            <a:extLst>
              <a:ext uri="{FF2B5EF4-FFF2-40B4-BE49-F238E27FC236}">
                <a16:creationId xmlns:a16="http://schemas.microsoft.com/office/drawing/2014/main" id="{74F9DDB1-19DE-732B-6937-972807B633C5}"/>
              </a:ext>
            </a:extLst>
          </p:cNvPr>
          <p:cNvSpPr txBox="1">
            <a:spLocks/>
          </p:cNvSpPr>
          <p:nvPr/>
        </p:nvSpPr>
        <p:spPr>
          <a:xfrm>
            <a:off x="495300" y="152378"/>
            <a:ext cx="8534400" cy="323165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ctr" defTabSz="385713" rtl="0" eaLnBrk="1" latinLnBrk="0" hangingPunct="1">
              <a:spcBef>
                <a:spcPct val="0"/>
              </a:spcBef>
              <a:buNone/>
              <a:defRPr sz="2250" b="1" kern="1200">
                <a:solidFill>
                  <a:srgbClr val="8E909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8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100">
                <a:solidFill>
                  <a:srgbClr val="545659"/>
                </a:solidFill>
                <a:latin typeface="Arial" panose="020B0604020202020204"/>
                <a:cs typeface="Calibri" panose="020F0502020204030204" pitchFamily="34" charset="0"/>
              </a:rPr>
              <a:t>Why Data Informs, But Doesn’t Dicta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DFCE14-D063-D9D3-1170-9A7C183B2474}"/>
              </a:ext>
            </a:extLst>
          </p:cNvPr>
          <p:cNvSpPr txBox="1"/>
          <p:nvPr/>
        </p:nvSpPr>
        <p:spPr>
          <a:xfrm>
            <a:off x="718628" y="1033039"/>
            <a:ext cx="7480860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 b="1">
                <a:latin typeface="Aptos" panose="020B0004020202020204" pitchFamily="34" charset="0"/>
              </a:rPr>
              <a:t>Why do you think we shouldn't let data alone dictate our decisions?</a:t>
            </a:r>
            <a:endParaRPr lang="en-US" b="1">
              <a:latin typeface="Aptos" panose="020B0004020202020204" pitchFamily="34" charset="0"/>
              <a:ea typeface="+mj-ea"/>
              <a:cs typeface="+mj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E7EF684-E4BE-7EB1-8623-CFA76AA4A6DD}"/>
              </a:ext>
            </a:extLst>
          </p:cNvPr>
          <p:cNvSpPr/>
          <p:nvPr/>
        </p:nvSpPr>
        <p:spPr>
          <a:xfrm>
            <a:off x="574300" y="1863615"/>
            <a:ext cx="2524992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5075C19-5731-6EF9-6D10-FBB955452FB4}"/>
              </a:ext>
            </a:extLst>
          </p:cNvPr>
          <p:cNvSpPr/>
          <p:nvPr/>
        </p:nvSpPr>
        <p:spPr>
          <a:xfrm>
            <a:off x="3325707" y="1863615"/>
            <a:ext cx="2524992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63A202-316E-F426-B7CA-7C7E3940BAFF}"/>
              </a:ext>
            </a:extLst>
          </p:cNvPr>
          <p:cNvSpPr/>
          <p:nvPr/>
        </p:nvSpPr>
        <p:spPr>
          <a:xfrm>
            <a:off x="6077114" y="1863615"/>
            <a:ext cx="2524992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FCDD35-76DE-F2ED-E47B-05569A214825}"/>
              </a:ext>
            </a:extLst>
          </p:cNvPr>
          <p:cNvSpPr txBox="1"/>
          <p:nvPr/>
        </p:nvSpPr>
        <p:spPr>
          <a:xfrm>
            <a:off x="588369" y="1932167"/>
            <a:ext cx="2480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Human Ele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B570AE-5B66-2EBA-9ABA-223C477A9ADF}"/>
              </a:ext>
            </a:extLst>
          </p:cNvPr>
          <p:cNvSpPr txBox="1"/>
          <p:nvPr/>
        </p:nvSpPr>
        <p:spPr>
          <a:xfrm>
            <a:off x="3342119" y="1962646"/>
            <a:ext cx="2480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Intangib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5406E0-7FF4-2BC4-73E8-BA230156B1EB}"/>
              </a:ext>
            </a:extLst>
          </p:cNvPr>
          <p:cNvSpPr txBox="1"/>
          <p:nvPr/>
        </p:nvSpPr>
        <p:spPr>
          <a:xfrm>
            <a:off x="6105252" y="1946234"/>
            <a:ext cx="2480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Contex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94DB1A-5516-1A4F-BA66-52E296D52AC8}"/>
              </a:ext>
            </a:extLst>
          </p:cNvPr>
          <p:cNvSpPr/>
          <p:nvPr/>
        </p:nvSpPr>
        <p:spPr>
          <a:xfrm>
            <a:off x="590712" y="3251687"/>
            <a:ext cx="2524992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F9D32C-0452-871A-1921-A36A275D02D8}"/>
              </a:ext>
            </a:extLst>
          </p:cNvPr>
          <p:cNvSpPr/>
          <p:nvPr/>
        </p:nvSpPr>
        <p:spPr>
          <a:xfrm>
            <a:off x="3342119" y="3251687"/>
            <a:ext cx="2524992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166B19E-780F-3FC4-3CB7-12E5604DA634}"/>
              </a:ext>
            </a:extLst>
          </p:cNvPr>
          <p:cNvSpPr/>
          <p:nvPr/>
        </p:nvSpPr>
        <p:spPr>
          <a:xfrm>
            <a:off x="6093526" y="3251687"/>
            <a:ext cx="2524992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5E0353-C883-BF30-E581-77F9BA55124C}"/>
              </a:ext>
            </a:extLst>
          </p:cNvPr>
          <p:cNvSpPr txBox="1"/>
          <p:nvPr/>
        </p:nvSpPr>
        <p:spPr>
          <a:xfrm>
            <a:off x="604781" y="3320239"/>
            <a:ext cx="2480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Data Limi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26C385-36C1-19F6-F734-32B9A80CF9C1}"/>
              </a:ext>
            </a:extLst>
          </p:cNvPr>
          <p:cNvSpPr txBox="1"/>
          <p:nvPr/>
        </p:nvSpPr>
        <p:spPr>
          <a:xfrm>
            <a:off x="3358531" y="3350718"/>
            <a:ext cx="2480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Future Uncertaint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303872-248A-C8BE-16B0-36243A49549C}"/>
              </a:ext>
            </a:extLst>
          </p:cNvPr>
          <p:cNvSpPr txBox="1"/>
          <p:nvPr/>
        </p:nvSpPr>
        <p:spPr>
          <a:xfrm>
            <a:off x="6121664" y="3334306"/>
            <a:ext cx="24804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+mj-lt"/>
              </a:rPr>
              <a:t>Ethical Considera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510AD1F-26AB-A0DB-F384-3ECB13D66A70}"/>
              </a:ext>
            </a:extLst>
          </p:cNvPr>
          <p:cNvSpPr txBox="1"/>
          <p:nvPr/>
        </p:nvSpPr>
        <p:spPr>
          <a:xfrm>
            <a:off x="649836" y="2239944"/>
            <a:ext cx="25626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Experience</a:t>
            </a:r>
          </a:p>
          <a:p>
            <a:pPr algn="l"/>
            <a:r>
              <a:rPr lang="en-US" sz="12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Intuition</a:t>
            </a:r>
          </a:p>
          <a:p>
            <a:pPr algn="l"/>
            <a:r>
              <a:rPr lang="en-US" sz="12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Jud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E4F630D-1D39-CE59-9D2F-6125B3584E27}"/>
              </a:ext>
            </a:extLst>
          </p:cNvPr>
          <p:cNvSpPr txBox="1"/>
          <p:nvPr/>
        </p:nvSpPr>
        <p:spPr>
          <a:xfrm>
            <a:off x="3373003" y="2222230"/>
            <a:ext cx="22337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Brand</a:t>
            </a:r>
            <a:r>
              <a:rPr lang="en-US" sz="1200">
                <a:latin typeface="+mj-lt"/>
              </a:rPr>
              <a:t> </a:t>
            </a:r>
            <a:r>
              <a:rPr lang="en-US" sz="12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Value &amp; Reputation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Company Culture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Relationship Qual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E8845C8-A9F6-B59C-D732-53A1ABCD3E2E}"/>
              </a:ext>
            </a:extLst>
          </p:cNvPr>
          <p:cNvSpPr txBox="1"/>
          <p:nvPr/>
        </p:nvSpPr>
        <p:spPr>
          <a:xfrm>
            <a:off x="6121664" y="2246978"/>
            <a:ext cx="24804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+mj-lt"/>
              </a:rPr>
              <a:t>Market Conditions 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</a:rPr>
              <a:t>Timing 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</a:rPr>
              <a:t>Unique Circumstanc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C3C65AA-902D-8C17-6F20-B0A8B8427863}"/>
              </a:ext>
            </a:extLst>
          </p:cNvPr>
          <p:cNvSpPr txBox="1"/>
          <p:nvPr/>
        </p:nvSpPr>
        <p:spPr>
          <a:xfrm>
            <a:off x="588369" y="3613204"/>
            <a:ext cx="26594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+mj-lt"/>
              </a:rPr>
              <a:t>Incomplete Information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</a:rPr>
              <a:t>Historical Bias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</a:rPr>
              <a:t>Not Everything Can Be Measure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A9D41F-B77A-81B6-BDD0-24E662C7770C}"/>
              </a:ext>
            </a:extLst>
          </p:cNvPr>
          <p:cNvSpPr txBox="1"/>
          <p:nvPr/>
        </p:nvSpPr>
        <p:spPr>
          <a:xfrm>
            <a:off x="3373003" y="3613203"/>
            <a:ext cx="22626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+mj-lt"/>
              </a:rPr>
              <a:t>Unknown Disruptions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</a:rPr>
              <a:t>Innovation Potential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</a:rPr>
              <a:t>Market Evolu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967513C-FD08-A876-0DDD-1EBD67B3997C}"/>
              </a:ext>
            </a:extLst>
          </p:cNvPr>
          <p:cNvSpPr txBox="1"/>
          <p:nvPr/>
        </p:nvSpPr>
        <p:spPr>
          <a:xfrm>
            <a:off x="6121664" y="3623832"/>
            <a:ext cx="24459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+mj-lt"/>
              </a:rPr>
              <a:t>Values Alignment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</a:rPr>
              <a:t>Social Responsibility </a:t>
            </a:r>
          </a:p>
          <a:p>
            <a:r>
              <a:rPr lang="en-US" sz="1200">
                <a:solidFill>
                  <a:schemeClr val="bg1"/>
                </a:solidFill>
                <a:latin typeface="+mj-lt"/>
              </a:rPr>
              <a:t>Long-term Impac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1465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9" grpId="0"/>
      <p:bldP spid="11" grpId="0"/>
      <p:bldP spid="12" grpId="0"/>
      <p:bldP spid="8" grpId="0" animBg="1"/>
      <p:bldP spid="10" grpId="0" animBg="1"/>
      <p:bldP spid="14" grpId="0" animBg="1"/>
      <p:bldP spid="15" grpId="0"/>
      <p:bldP spid="16" grpId="0"/>
      <p:bldP spid="17" grpId="0"/>
      <p:bldP spid="21" grpId="0"/>
      <p:bldP spid="23" grpId="0"/>
      <p:bldP spid="25" grpId="0"/>
      <p:bldP spid="27" grpId="0"/>
      <p:bldP spid="29" grpId="0"/>
      <p:bldP spid="3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5">
            <a:extLst>
              <a:ext uri="{FF2B5EF4-FFF2-40B4-BE49-F238E27FC236}">
                <a16:creationId xmlns:a16="http://schemas.microsoft.com/office/drawing/2014/main" id="{E31C58C7-DE95-4D57-B677-5F444C30D6AF}"/>
              </a:ext>
            </a:extLst>
          </p:cNvPr>
          <p:cNvSpPr txBox="1">
            <a:spLocks/>
          </p:cNvSpPr>
          <p:nvPr/>
        </p:nvSpPr>
        <p:spPr>
          <a:xfrm>
            <a:off x="495300" y="152378"/>
            <a:ext cx="8534400" cy="323165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ctr" defTabSz="385713" rtl="0" eaLnBrk="1" latinLnBrk="0" hangingPunct="1">
              <a:spcBef>
                <a:spcPct val="0"/>
              </a:spcBef>
              <a:buNone/>
              <a:defRPr sz="2250" b="1" kern="1200">
                <a:solidFill>
                  <a:srgbClr val="8E909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38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100">
                <a:solidFill>
                  <a:srgbClr val="545659"/>
                </a:solidFill>
                <a:latin typeface="Arial" panose="020B0604020202020204"/>
                <a:cs typeface="Calibri" panose="020F0502020204030204" pitchFamily="34" charset="0"/>
              </a:rPr>
              <a:t>What is Data-Informed Decision-Making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C8B10E-15BA-6267-4808-912C430E515A}"/>
              </a:ext>
            </a:extLst>
          </p:cNvPr>
          <p:cNvSpPr txBox="1"/>
          <p:nvPr/>
        </p:nvSpPr>
        <p:spPr>
          <a:xfrm>
            <a:off x="718628" y="1033039"/>
            <a:ext cx="7480860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375"/>
              </a:spcAft>
            </a:pPr>
            <a:r>
              <a:rPr lang="en-US">
                <a:latin typeface="+mj-lt"/>
                <a:ea typeface="+mj-ea"/>
                <a:cs typeface="+mj-cs"/>
              </a:rPr>
              <a:t>The process of integrating data insights with human expertise and judgment to guide decision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E87C831-4569-C8C0-66DF-3FA70A4B9945}"/>
              </a:ext>
            </a:extLst>
          </p:cNvPr>
          <p:cNvSpPr/>
          <p:nvPr/>
        </p:nvSpPr>
        <p:spPr>
          <a:xfrm>
            <a:off x="464234" y="2293034"/>
            <a:ext cx="1861624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F37313-3DE8-309D-049D-25FCE872D74C}"/>
              </a:ext>
            </a:extLst>
          </p:cNvPr>
          <p:cNvSpPr/>
          <p:nvPr/>
        </p:nvSpPr>
        <p:spPr>
          <a:xfrm>
            <a:off x="2529841" y="2290690"/>
            <a:ext cx="1861624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6CEFB50-AF26-9339-4CF1-D9134172D69B}"/>
              </a:ext>
            </a:extLst>
          </p:cNvPr>
          <p:cNvSpPr/>
          <p:nvPr/>
        </p:nvSpPr>
        <p:spPr>
          <a:xfrm>
            <a:off x="4611857" y="2290690"/>
            <a:ext cx="1861624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CF16E9-0E18-82B3-4BB2-078F851A58AB}"/>
              </a:ext>
            </a:extLst>
          </p:cNvPr>
          <p:cNvSpPr/>
          <p:nvPr/>
        </p:nvSpPr>
        <p:spPr>
          <a:xfrm>
            <a:off x="6719662" y="2288346"/>
            <a:ext cx="1861624" cy="10433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5032BE-427D-BF02-3C87-A959797D9EEF}"/>
              </a:ext>
            </a:extLst>
          </p:cNvPr>
          <p:cNvSpPr txBox="1"/>
          <p:nvPr/>
        </p:nvSpPr>
        <p:spPr>
          <a:xfrm>
            <a:off x="478303" y="2361586"/>
            <a:ext cx="1828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+mj-lt"/>
              </a:rPr>
              <a:t>Balances Data with Human Judge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CF0F972-54CE-D7E4-9CDF-2F4015DB1269}"/>
              </a:ext>
            </a:extLst>
          </p:cNvPr>
          <p:cNvSpPr txBox="1"/>
          <p:nvPr/>
        </p:nvSpPr>
        <p:spPr>
          <a:xfrm>
            <a:off x="2546253" y="2389721"/>
            <a:ext cx="1828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+mj-lt"/>
              </a:rPr>
              <a:t>Uses Data to Inform, Not Dictat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C89B4C-1646-F84F-3CD8-D6E370D7258F}"/>
              </a:ext>
            </a:extLst>
          </p:cNvPr>
          <p:cNvSpPr txBox="1"/>
          <p:nvPr/>
        </p:nvSpPr>
        <p:spPr>
          <a:xfrm>
            <a:off x="4639995" y="2373309"/>
            <a:ext cx="1828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+mj-lt"/>
              </a:rPr>
              <a:t>Considers Context and External Facto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55AC0C-CBA5-F0D5-D750-B124A141A21C}"/>
              </a:ext>
            </a:extLst>
          </p:cNvPr>
          <p:cNvSpPr txBox="1"/>
          <p:nvPr/>
        </p:nvSpPr>
        <p:spPr>
          <a:xfrm>
            <a:off x="6736081" y="2345173"/>
            <a:ext cx="18288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+mj-lt"/>
              </a:rPr>
              <a:t>Promotes Critical Think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3357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rgbClr val="9EA0A4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  <p:bldP spid="7" grpId="0" animBg="1"/>
      <p:bldP spid="9" grpId="0"/>
      <p:bldP spid="11" grpId="0"/>
      <p:bldP spid="12" grpId="0"/>
      <p:bldP spid="1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25DA9-11D9-39C9-CEAE-DD91E76AA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80CF1B-8705-397E-280F-CC033B8143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833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OFFICE THEME" val="qID4PeLS"/>
  <p:tag name="ARTICULATE_DESIGN_ID_BOXI_TALEND_CORPORATE_DECK_2015" val="6DtGgixa"/>
  <p:tag name="ARTICULATE_DESIGN_ID_AGI-BLUE" val="u6tvGqZP"/>
  <p:tag name="ARTICULATE_PROJECT_OPEN" val="0"/>
  <p:tag name="ARTICULATE_SLIDE_COUNT" val="2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QlikCorp Deck 2022">
  <a:themeElements>
    <a:clrScheme name="Custom 11">
      <a:dk1>
        <a:srgbClr val="545659"/>
      </a:dk1>
      <a:lt1>
        <a:srgbClr val="FFFFFF"/>
      </a:lt1>
      <a:dk2>
        <a:srgbClr val="244B59"/>
      </a:dk2>
      <a:lt2>
        <a:srgbClr val="1C345E"/>
      </a:lt2>
      <a:accent1>
        <a:srgbClr val="006580"/>
      </a:accent1>
      <a:accent2>
        <a:srgbClr val="870064"/>
      </a:accent2>
      <a:accent3>
        <a:srgbClr val="005CB9"/>
      </a:accent3>
      <a:accent4>
        <a:srgbClr val="156838"/>
      </a:accent4>
      <a:accent5>
        <a:srgbClr val="009845"/>
      </a:accent5>
      <a:accent6>
        <a:srgbClr val="655DC6"/>
      </a:accent6>
      <a:hlink>
        <a:srgbClr val="274B5A"/>
      </a:hlink>
      <a:folHlink>
        <a:srgbClr val="1867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Qlik_2022-PPT-Template2" id="{B07C105F-330A-3F4F-A1E6-FDED2C564E06}" vid="{E094C9BA-50AF-ED4B-9CFD-9BDB405E00A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7CC1116FC043746950095B932FCBFD1" ma:contentTypeVersion="8" ma:contentTypeDescription="Create a new document." ma:contentTypeScope="" ma:versionID="0f3f2b81e2e293fd4eda308e46026e3a">
  <xsd:schema xmlns:xsd="http://www.w3.org/2001/XMLSchema" xmlns:xs="http://www.w3.org/2001/XMLSchema" xmlns:p="http://schemas.microsoft.com/office/2006/metadata/properties" xmlns:ns2="e0c4a483-1c1e-47eb-a8f8-b4a12f86008e" targetNamespace="http://schemas.microsoft.com/office/2006/metadata/properties" ma:root="true" ma:fieldsID="f761ad3784b9c9c9684bd9b172936cdc" ns2:_="">
    <xsd:import namespace="e0c4a483-1c1e-47eb-a8f8-b4a12f8600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c4a483-1c1e-47eb-a8f8-b4a12f8600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B3E2E52-8F9A-4B59-861F-C1303513C176}">
  <ds:schemaRefs>
    <ds:schemaRef ds:uri="http://purl.org/dc/terms/"/>
    <ds:schemaRef ds:uri="http://www.w3.org/XML/1998/namespace"/>
    <ds:schemaRef ds:uri="http://schemas.microsoft.com/office/2006/documentManagement/types"/>
    <ds:schemaRef ds:uri="ee96b53a-21d9-4e6e-a367-efc8d723f4b6"/>
    <ds:schemaRef ds:uri="http://purl.org/dc/dcmitype/"/>
    <ds:schemaRef ds:uri="http://schemas.microsoft.com/office/infopath/2007/PartnerControls"/>
    <ds:schemaRef ds:uri="http://purl.org/dc/elements/1.1/"/>
    <ds:schemaRef ds:uri="4ac8049b-21ac-40f4-9aca-9e3c1b113752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BBB4165-F74F-4BC2-A7AB-DD491152EB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A8B495-9D07-45B7-96D4-CE959A00FB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c4a483-1c1e-47eb-a8f8-b4a12f8600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6</TotalTime>
  <Words>422</Words>
  <Application>Microsoft Office PowerPoint</Application>
  <PresentationFormat>On-screen Show (16:9)</PresentationFormat>
  <Paragraphs>146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ptos</vt:lpstr>
      <vt:lpstr>Arial</vt:lpstr>
      <vt:lpstr>Calibri</vt:lpstr>
      <vt:lpstr>Century Gothic</vt:lpstr>
      <vt:lpstr>Helvetica</vt:lpstr>
      <vt:lpstr>QlikCorp Deck 2022</vt:lpstr>
      <vt:lpstr>think-cell Slide</vt:lpstr>
      <vt:lpstr>Advancing Data Literacy: Senior Manager Training for M4s</vt:lpstr>
      <vt:lpstr>What is Data?</vt:lpstr>
      <vt:lpstr>How Our Brain Influences Decisions With Data</vt:lpstr>
      <vt:lpstr>PowerPoint Presentation</vt:lpstr>
      <vt:lpstr>The Impact of Outdated Decision-Making Models</vt:lpstr>
      <vt:lpstr>PowerPoint Presentation</vt:lpstr>
      <vt:lpstr>PowerPoint Presentation</vt:lpstr>
      <vt:lpstr>PowerPoint Presentation</vt:lpstr>
      <vt:lpstr>The Process</vt:lpstr>
      <vt:lpstr>Data-Informed Decision-Making Proces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 cover slide option with three lines for a long title</dc:title>
  <dc:creator>Cass Carra</dc:creator>
  <cp:lastModifiedBy>Kevin Hanegan</cp:lastModifiedBy>
  <cp:revision>7</cp:revision>
  <cp:lastPrinted>2024-10-24T11:16:44Z</cp:lastPrinted>
  <dcterms:created xsi:type="dcterms:W3CDTF">2018-09-11T15:26:17Z</dcterms:created>
  <dcterms:modified xsi:type="dcterms:W3CDTF">2025-01-31T20:53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oject">
    <vt:lpwstr>IBDROOT</vt:lpwstr>
  </property>
  <property fmtid="{D5CDD505-2E9C-101B-9397-08002B2CF9AE}" pid="3" name="DocTopsCleaned">
    <vt:lpwstr>True</vt:lpwstr>
  </property>
  <property fmtid="{D5CDD505-2E9C-101B-9397-08002B2CF9AE}" pid="4" name="ShowHideDoctop">
    <vt:lpwstr>False</vt:lpwstr>
  </property>
  <property fmtid="{D5CDD505-2E9C-101B-9397-08002B2CF9AE}" pid="5" name="ContentTypeId">
    <vt:lpwstr>0x01010047CC1116FC043746950095B932FCBFD1</vt:lpwstr>
  </property>
  <property fmtid="{D5CDD505-2E9C-101B-9397-08002B2CF9AE}" pid="6" name="ArticulateGUID">
    <vt:lpwstr>A91E05FE-F371-4F8F-9B36-FEC3169C6ACF</vt:lpwstr>
  </property>
  <property fmtid="{D5CDD505-2E9C-101B-9397-08002B2CF9AE}" pid="7" name="ArticulatePath">
    <vt:lpwstr>Qlik_Analytics_Summit_PPT_Template_Federal</vt:lpwstr>
  </property>
  <property fmtid="{D5CDD505-2E9C-101B-9397-08002B2CF9AE}" pid="8" name="MSIP_Label_84725270-1a60-4239-bd3a-1f77246ba1b1_Enabled">
    <vt:lpwstr>true</vt:lpwstr>
  </property>
  <property fmtid="{D5CDD505-2E9C-101B-9397-08002B2CF9AE}" pid="9" name="MSIP_Label_84725270-1a60-4239-bd3a-1f77246ba1b1_SetDate">
    <vt:lpwstr>2024-11-22T15:27:46Z</vt:lpwstr>
  </property>
  <property fmtid="{D5CDD505-2E9C-101B-9397-08002B2CF9AE}" pid="10" name="MSIP_Label_84725270-1a60-4239-bd3a-1f77246ba1b1_Method">
    <vt:lpwstr>Standard</vt:lpwstr>
  </property>
  <property fmtid="{D5CDD505-2E9C-101B-9397-08002B2CF9AE}" pid="11" name="MSIP_Label_84725270-1a60-4239-bd3a-1f77246ba1b1_Name">
    <vt:lpwstr>Vanguard Internal Use Only</vt:lpwstr>
  </property>
  <property fmtid="{D5CDD505-2E9C-101B-9397-08002B2CF9AE}" pid="12" name="MSIP_Label_84725270-1a60-4239-bd3a-1f77246ba1b1_SiteId">
    <vt:lpwstr>d3a74ac8-efe4-4fe8-b707-b1bf8c6a25bd</vt:lpwstr>
  </property>
  <property fmtid="{D5CDD505-2E9C-101B-9397-08002B2CF9AE}" pid="13" name="MSIP_Label_84725270-1a60-4239-bd3a-1f77246ba1b1_ActionId">
    <vt:lpwstr>095661a4-864e-4dee-8189-a7c8425647b6</vt:lpwstr>
  </property>
  <property fmtid="{D5CDD505-2E9C-101B-9397-08002B2CF9AE}" pid="14" name="MSIP_Label_84725270-1a60-4239-bd3a-1f77246ba1b1_ContentBits">
    <vt:lpwstr>2</vt:lpwstr>
  </property>
  <property fmtid="{D5CDD505-2E9C-101B-9397-08002B2CF9AE}" pid="15" name="ClassificationContentMarkingFooterLocations">
    <vt:lpwstr>QlikCorp Deck 2022:7</vt:lpwstr>
  </property>
  <property fmtid="{D5CDD505-2E9C-101B-9397-08002B2CF9AE}" pid="16" name="ClassificationContentMarkingFooterText">
    <vt:lpwstr>Vanguard Internal Use Only</vt:lpwstr>
  </property>
  <property fmtid="{D5CDD505-2E9C-101B-9397-08002B2CF9AE}" pid="17" name="MediaServiceImageTags">
    <vt:lpwstr/>
  </property>
</Properties>
</file>